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4392" r:id="rId4"/>
    <p:sldMasterId id="2147484581" r:id="rId5"/>
  </p:sldMasterIdLst>
  <p:notesMasterIdLst>
    <p:notesMasterId r:id="rId24"/>
  </p:notesMasterIdLst>
  <p:handoutMasterIdLst>
    <p:handoutMasterId r:id="rId25"/>
  </p:handoutMasterIdLst>
  <p:sldIdLst>
    <p:sldId id="2147482730" r:id="rId6"/>
    <p:sldId id="2144446322" r:id="rId7"/>
    <p:sldId id="2144446146" r:id="rId8"/>
    <p:sldId id="2147482727" r:id="rId9"/>
    <p:sldId id="5430" r:id="rId10"/>
    <p:sldId id="5433" r:id="rId11"/>
    <p:sldId id="2147482729" r:id="rId12"/>
    <p:sldId id="2147482726" r:id="rId13"/>
    <p:sldId id="2147482698" r:id="rId14"/>
    <p:sldId id="2144446279" r:id="rId15"/>
    <p:sldId id="2147474627" r:id="rId16"/>
    <p:sldId id="2147474628" r:id="rId17"/>
    <p:sldId id="2147474625" r:id="rId18"/>
    <p:sldId id="1481" r:id="rId19"/>
    <p:sldId id="2144446339" r:id="rId20"/>
    <p:sldId id="2147482700" r:id="rId21"/>
    <p:sldId id="2147482682" r:id="rId22"/>
    <p:sldId id="2144446280" r:id="rId23"/>
  </p:sldIdLst>
  <p:sldSz cx="12192000" cy="6858000"/>
  <p:notesSz cx="9872663" cy="14301788"/>
  <p:embeddedFontLst>
    <p:embeddedFont>
      <p:font typeface="Arial Black" panose="020B0A04020102020204" pitchFamily="34" charset="0"/>
      <p:bold r:id="rId26"/>
    </p:embeddedFont>
    <p:embeddedFont>
      <p:font typeface="Barlow" panose="00000500000000000000" pitchFamily="2" charset="0"/>
      <p:regular r:id="rId27"/>
      <p:bold r:id="rId28"/>
      <p:italic r:id="rId29"/>
      <p:boldItalic r:id="rId30"/>
    </p:embeddedFont>
    <p:embeddedFont>
      <p:font typeface="Open Sans" panose="020B0606030504020204" pitchFamily="34" charset="0"/>
      <p:regular r:id="rId31"/>
      <p:bold r:id="rId32"/>
      <p:italic r:id="rId33"/>
      <p:boldItalic r:id="rId34"/>
    </p:embeddedFont>
    <p:embeddedFont>
      <p:font typeface="Wingdings 2" panose="05020102010507070707" pitchFamily="18" charset="2"/>
      <p:regular r:id="rId35"/>
    </p:embeddedFont>
  </p:embeddedFontLst>
  <p:custDataLst>
    <p:tags r:id="rId3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s" id="{813F2A99-F5FD-443D-9137-11D8D46A40D8}">
          <p14:sldIdLst>
            <p14:sldId id="2147482730"/>
            <p14:sldId id="2144446322"/>
            <p14:sldId id="2144446146"/>
            <p14:sldId id="2147482727"/>
            <p14:sldId id="5430"/>
            <p14:sldId id="5433"/>
            <p14:sldId id="2147482729"/>
            <p14:sldId id="2147482726"/>
            <p14:sldId id="2147482698"/>
            <p14:sldId id="2144446279"/>
            <p14:sldId id="2147474627"/>
            <p14:sldId id="2147474628"/>
            <p14:sldId id="2147474625"/>
            <p14:sldId id="1481"/>
            <p14:sldId id="2144446339"/>
            <p14:sldId id="2147482700"/>
            <p14:sldId id="2147482682"/>
            <p14:sldId id="214444628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54A019A-6131-7FDA-9F18-22D85D2D75F9}" name="Julia Nurse" initials="JN" userId="S::julia.nurse@Ipsos.com::a0f02c22-5676-46e0-8925-6d7c362befa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main Carette" initials="RC" lastIdx="1" clrIdx="0">
    <p:extLst>
      <p:ext uri="{19B8F6BF-5375-455C-9EA6-DF929625EA0E}">
        <p15:presenceInfo xmlns:p15="http://schemas.microsoft.com/office/powerpoint/2012/main" userId="f5b5fcd6593eb51e" providerId="Windows Live"/>
      </p:ext>
    </p:extLst>
  </p:cmAuthor>
  <p:cmAuthor id="2" name="Julia Nurse" initials="JN" lastIdx="80" clrIdx="1">
    <p:extLst>
      <p:ext uri="{19B8F6BF-5375-455C-9EA6-DF929625EA0E}">
        <p15:presenceInfo xmlns:p15="http://schemas.microsoft.com/office/powerpoint/2012/main" userId="S::julia.nurse@Ipsos.com::a0f02c22-5676-46e0-8925-6d7c362befa2" providerId="AD"/>
      </p:ext>
    </p:extLst>
  </p:cmAuthor>
  <p:cmAuthor id="3" name="Ian Jarvis" initials="IJ" lastIdx="14" clrIdx="2">
    <p:extLst>
      <p:ext uri="{19B8F6BF-5375-455C-9EA6-DF929625EA0E}">
        <p15:presenceInfo xmlns:p15="http://schemas.microsoft.com/office/powerpoint/2012/main" userId="S-1-5-21-3343930222-3471731563-1258133589-336814" providerId="AD"/>
      </p:ext>
    </p:extLst>
  </p:cmAuthor>
  <p:cmAuthor id="4" name="Hannah Williams" initials="HW" lastIdx="3" clrIdx="3">
    <p:extLst>
      <p:ext uri="{19B8F6BF-5375-455C-9EA6-DF929625EA0E}">
        <p15:presenceInfo xmlns:p15="http://schemas.microsoft.com/office/powerpoint/2012/main" userId="S::hannah.williams@ipsos.com::5910482a-1124-4d8f-8118-860f2cd026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1B5A"/>
    <a:srgbClr val="E5E5E5"/>
    <a:srgbClr val="C6E7F5"/>
    <a:srgbClr val="00A19B"/>
    <a:srgbClr val="E8ECF1"/>
    <a:srgbClr val="103C50"/>
    <a:srgbClr val="E50158"/>
    <a:srgbClr val="1DAFAD"/>
    <a:srgbClr val="06091F"/>
    <a:srgbClr val="FF94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69F426-F1C9-47D6-AA35-37A7418AF058}" v="433" dt="2025-01-21T18:30:54.3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6223" autoAdjust="0"/>
  </p:normalViewPr>
  <p:slideViewPr>
    <p:cSldViewPr snapToGrid="0" showGuides="1">
      <p:cViewPr varScale="1">
        <p:scale>
          <a:sx n="91" d="100"/>
          <a:sy n="91" d="100"/>
        </p:scale>
        <p:origin x="370" y="72"/>
      </p:cViewPr>
      <p:guideLst/>
    </p:cSldViewPr>
  </p:slideViewPr>
  <p:outlineViewPr>
    <p:cViewPr>
      <p:scale>
        <a:sx n="33" d="100"/>
        <a:sy n="33" d="100"/>
      </p:scale>
      <p:origin x="0" y="-2684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92"/>
    </p:cViewPr>
  </p:sorterViewPr>
  <p:notesViewPr>
    <p:cSldViewPr snapToGrid="0" showGuides="1">
      <p:cViewPr>
        <p:scale>
          <a:sx n="75" d="100"/>
          <a:sy n="75" d="100"/>
        </p:scale>
        <p:origin x="3156" y="2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1.fntdata"/><Relationship Id="rId39" Type="http://schemas.openxmlformats.org/officeDocument/2006/relationships/viewProps" Target="viewProps.xml"/><Relationship Id="rId21" Type="http://schemas.openxmlformats.org/officeDocument/2006/relationships/slide" Target="slides/slide16.xml"/><Relationship Id="rId34" Type="http://schemas.openxmlformats.org/officeDocument/2006/relationships/font" Target="fonts/font9.fntdata"/><Relationship Id="rId42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4.fntdata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7.fntdata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3.fntdata"/><Relationship Id="rId36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microsoft.com/office/2018/10/relationships/authors" Target="author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33" Type="http://schemas.openxmlformats.org/officeDocument/2006/relationships/font" Target="fonts/font8.fntdata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362075138097276"/>
          <c:y val="0.23599300087489064"/>
          <c:w val="0.27379048748613538"/>
          <c:h val="0.69910177894429859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UBLIC TRANSPOR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B$2:$B$12</c:f>
            </c:numRef>
          </c:val>
          <c:extLst>
            <c:ext xmlns:c16="http://schemas.microsoft.com/office/drawing/2014/chart" uri="{C3380CC4-5D6E-409C-BE32-E72D297353CC}">
              <c16:uniqueId val="{00000000-0976-45C0-84E0-2ABC16996BC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WER FLIGH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C$2:$C$12</c:f>
            </c:numRef>
          </c:val>
          <c:extLst>
            <c:ext xmlns:c16="http://schemas.microsoft.com/office/drawing/2014/chart" uri="{C3380CC4-5D6E-409C-BE32-E72D297353CC}">
              <c16:uniqueId val="{00000001-0976-45C0-84E0-2ABC16996BC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emale</c:v>
                </c:pt>
              </c:strCache>
            </c:strRef>
          </c:tx>
          <c:spPr>
            <a:ln w="38100" cap="rnd">
              <a:solidFill>
                <a:srgbClr val="D4A3E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0.36</c:v>
                </c:pt>
                <c:pt idx="1">
                  <c:v>0.21</c:v>
                </c:pt>
                <c:pt idx="2">
                  <c:v>0.2</c:v>
                </c:pt>
                <c:pt idx="3">
                  <c:v>0.1</c:v>
                </c:pt>
                <c:pt idx="4">
                  <c:v>0.31</c:v>
                </c:pt>
                <c:pt idx="5">
                  <c:v>0.23</c:v>
                </c:pt>
                <c:pt idx="6">
                  <c:v>0.3</c:v>
                </c:pt>
                <c:pt idx="7">
                  <c:v>0.08</c:v>
                </c:pt>
                <c:pt idx="8">
                  <c:v>0.55000000000000004</c:v>
                </c:pt>
                <c:pt idx="9">
                  <c:v>0.19</c:v>
                </c:pt>
                <c:pt idx="10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76-45C0-84E0-2ABC16996BC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ETROFITTING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E$2:$E$12</c:f>
            </c:numRef>
          </c:val>
          <c:extLst>
            <c:ext xmlns:c16="http://schemas.microsoft.com/office/drawing/2014/chart" uri="{C3380CC4-5D6E-409C-BE32-E72D297353CC}">
              <c16:uniqueId val="{00000003-0976-45C0-84E0-2ABC16996BC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OLAR/TURBINE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F$2:$F$12</c:f>
            </c:numRef>
          </c:val>
          <c:extLst>
            <c:ext xmlns:c16="http://schemas.microsoft.com/office/drawing/2014/chart" uri="{C3380CC4-5D6E-409C-BE32-E72D297353CC}">
              <c16:uniqueId val="{00000004-0976-45C0-84E0-2ABC16996BC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VEGETARIAN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G$2:$G$12</c:f>
            </c:numRef>
          </c:val>
          <c:extLst>
            <c:ext xmlns:c16="http://schemas.microsoft.com/office/drawing/2014/chart" uri="{C3380CC4-5D6E-409C-BE32-E72D297353CC}">
              <c16:uniqueId val="{00000005-0976-45C0-84E0-2ABC16996BC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O PETS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H$2:$H$12</c:f>
            </c:numRef>
          </c:val>
          <c:extLst>
            <c:ext xmlns:c16="http://schemas.microsoft.com/office/drawing/2014/chart" uri="{C3380CC4-5D6E-409C-BE32-E72D297353CC}">
              <c16:uniqueId val="{00000006-0976-45C0-84E0-2ABC16996BC1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PURCHASING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I$2:$I$12</c:f>
            </c:numRef>
          </c:val>
          <c:extLst>
            <c:ext xmlns:c16="http://schemas.microsoft.com/office/drawing/2014/chart" uri="{C3380CC4-5D6E-409C-BE32-E72D297353CC}">
              <c16:uniqueId val="{00000007-0976-45C0-84E0-2ABC16996BC1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Male</c:v>
                </c:pt>
              </c:strCache>
            </c:strRef>
          </c:tx>
          <c:spPr>
            <a:ln w="28575" cap="rnd">
              <a:solidFill>
                <a:schemeClr val="bg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J$2:$J$12</c:f>
              <c:numCache>
                <c:formatCode>0%</c:formatCode>
                <c:ptCount val="11"/>
                <c:pt idx="0">
                  <c:v>0.48</c:v>
                </c:pt>
                <c:pt idx="1">
                  <c:v>0.21</c:v>
                </c:pt>
                <c:pt idx="2">
                  <c:v>0.25</c:v>
                </c:pt>
                <c:pt idx="3">
                  <c:v>0.17</c:v>
                </c:pt>
                <c:pt idx="4">
                  <c:v>0.26</c:v>
                </c:pt>
                <c:pt idx="5">
                  <c:v>0.18</c:v>
                </c:pt>
                <c:pt idx="6">
                  <c:v>0.35</c:v>
                </c:pt>
                <c:pt idx="7">
                  <c:v>0.14000000000000001</c:v>
                </c:pt>
                <c:pt idx="8">
                  <c:v>0.44</c:v>
                </c:pt>
                <c:pt idx="9">
                  <c:v>0.2</c:v>
                </c:pt>
                <c:pt idx="1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976-45C0-84E0-2ABC16996BC1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Electric Vehicle</c:v>
                </c:pt>
              </c:strCache>
            </c:strRef>
          </c:tx>
          <c:spPr>
            <a:ln w="28575" cap="rnd">
              <a:solidFill>
                <a:srgbClr val="009D9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K$2:$K$12</c:f>
              <c:numCache>
                <c:formatCode>0%</c:formatCode>
                <c:ptCount val="11"/>
                <c:pt idx="0">
                  <c:v>0.40315167432698601</c:v>
                </c:pt>
                <c:pt idx="1">
                  <c:v>0.206172028890348</c:v>
                </c:pt>
                <c:pt idx="2">
                  <c:v>0.21799080761654599</c:v>
                </c:pt>
                <c:pt idx="3">
                  <c:v>0.13197636244254801</c:v>
                </c:pt>
                <c:pt idx="4">
                  <c:v>0.28824688115561398</c:v>
                </c:pt>
                <c:pt idx="5">
                  <c:v>0.20814182534471401</c:v>
                </c:pt>
                <c:pt idx="6">
                  <c:v>0.31713722915298798</c:v>
                </c:pt>
                <c:pt idx="7">
                  <c:v>0.102429415627052</c:v>
                </c:pt>
                <c:pt idx="8">
                  <c:v>0.508864084044649</c:v>
                </c:pt>
                <c:pt idx="9">
                  <c:v>0.19632304661851599</c:v>
                </c:pt>
                <c:pt idx="10">
                  <c:v>0.1582403151674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976-45C0-84E0-2ABC16996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78906992"/>
        <c:axId val="1278905552"/>
      </c:radarChart>
      <c:catAx>
        <c:axId val="1278906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8905552"/>
        <c:crosses val="autoZero"/>
        <c:auto val="1"/>
        <c:lblAlgn val="ctr"/>
        <c:lblOffset val="100"/>
        <c:noMultiLvlLbl val="0"/>
      </c:catAx>
      <c:valAx>
        <c:axId val="1278905552"/>
        <c:scaling>
          <c:orientation val="minMax"/>
          <c:max val="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278906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66648072616598697"/>
          <c:y val="2.5493266333161357E-2"/>
          <c:w val="0.14361373449781598"/>
          <c:h val="0.181760997823989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362075138097276"/>
          <c:y val="0.23599300087489064"/>
          <c:w val="0.27379048748613538"/>
          <c:h val="0.69910177894429859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UBLIC TRANSPOR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B$2:$B$12</c:f>
            </c:numRef>
          </c:val>
          <c:extLst>
            <c:ext xmlns:c16="http://schemas.microsoft.com/office/drawing/2014/chart" uri="{C3380CC4-5D6E-409C-BE32-E72D297353CC}">
              <c16:uniqueId val="{00000000-FD9B-4466-87B3-F6DAE4FF26F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WER FLIGH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C$2:$C$12</c:f>
            </c:numRef>
          </c:val>
          <c:extLst>
            <c:ext xmlns:c16="http://schemas.microsoft.com/office/drawing/2014/chart" uri="{C3380CC4-5D6E-409C-BE32-E72D297353CC}">
              <c16:uniqueId val="{00000001-FD9B-4466-87B3-F6DAE4FF26F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LECTRIC VEHICL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D$2:$D$12</c:f>
            </c:numRef>
          </c:val>
          <c:extLst>
            <c:ext xmlns:c16="http://schemas.microsoft.com/office/drawing/2014/chart" uri="{C3380CC4-5D6E-409C-BE32-E72D297353CC}">
              <c16:uniqueId val="{00000002-FD9B-4466-87B3-F6DAE4FF26F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ETROFITTING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E$2:$E$12</c:f>
            </c:numRef>
          </c:val>
          <c:extLst>
            <c:ext xmlns:c16="http://schemas.microsoft.com/office/drawing/2014/chart" uri="{C3380CC4-5D6E-409C-BE32-E72D297353CC}">
              <c16:uniqueId val="{00000003-FD9B-4466-87B3-F6DAE4FF26F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emale</c:v>
                </c:pt>
              </c:strCache>
            </c:strRef>
          </c:tx>
          <c:spPr>
            <a:ln w="38100" cap="rnd">
              <a:solidFill>
                <a:srgbClr val="D4A3E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F$2:$F$12</c:f>
              <c:numCache>
                <c:formatCode>0%</c:formatCode>
                <c:ptCount val="11"/>
                <c:pt idx="0">
                  <c:v>0.14000000000000001</c:v>
                </c:pt>
                <c:pt idx="1">
                  <c:v>7.0000000000000007E-2</c:v>
                </c:pt>
                <c:pt idx="2">
                  <c:v>7.0000000000000007E-2</c:v>
                </c:pt>
                <c:pt idx="3">
                  <c:v>0.03</c:v>
                </c:pt>
                <c:pt idx="4">
                  <c:v>0.32</c:v>
                </c:pt>
                <c:pt idx="5">
                  <c:v>0.33</c:v>
                </c:pt>
                <c:pt idx="6">
                  <c:v>0.06</c:v>
                </c:pt>
                <c:pt idx="7">
                  <c:v>0.3</c:v>
                </c:pt>
                <c:pt idx="8">
                  <c:v>0.55000000000000004</c:v>
                </c:pt>
                <c:pt idx="9">
                  <c:v>0.22</c:v>
                </c:pt>
                <c:pt idx="1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D9B-4466-87B3-F6DAE4FF26F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OLAR/TURBINE2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G$2:$G$12</c:f>
            </c:numRef>
          </c:val>
          <c:extLst>
            <c:ext xmlns:c16="http://schemas.microsoft.com/office/drawing/2014/chart" uri="{C3380CC4-5D6E-409C-BE32-E72D297353CC}">
              <c16:uniqueId val="{00000005-FD9B-4466-87B3-F6DAE4FF26FE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OLAR/TURBINE3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H$2:$H$12</c:f>
            </c:numRef>
          </c:val>
          <c:extLst>
            <c:ext xmlns:c16="http://schemas.microsoft.com/office/drawing/2014/chart" uri="{C3380CC4-5D6E-409C-BE32-E72D297353CC}">
              <c16:uniqueId val="{00000006-FD9B-4466-87B3-F6DAE4FF26FE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SOLAR/TURBINE4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I$2:$I$12</c:f>
            </c:numRef>
          </c:val>
          <c:extLst>
            <c:ext xmlns:c16="http://schemas.microsoft.com/office/drawing/2014/chart" uri="{C3380CC4-5D6E-409C-BE32-E72D297353CC}">
              <c16:uniqueId val="{00000007-FD9B-4466-87B3-F6DAE4FF26FE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Male</c:v>
                </c:pt>
              </c:strCache>
            </c:strRef>
          </c:tx>
          <c:spPr>
            <a:ln w="28575" cap="rnd">
              <a:solidFill>
                <a:schemeClr val="bg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J$2:$J$12</c:f>
              <c:numCache>
                <c:formatCode>0%</c:formatCode>
                <c:ptCount val="11"/>
                <c:pt idx="0">
                  <c:v>0.26</c:v>
                </c:pt>
                <c:pt idx="1">
                  <c:v>0.08</c:v>
                </c:pt>
                <c:pt idx="2">
                  <c:v>0.1</c:v>
                </c:pt>
                <c:pt idx="3">
                  <c:v>7.0000000000000007E-2</c:v>
                </c:pt>
                <c:pt idx="4">
                  <c:v>0.24</c:v>
                </c:pt>
                <c:pt idx="5">
                  <c:v>0.25</c:v>
                </c:pt>
                <c:pt idx="6">
                  <c:v>0.08</c:v>
                </c:pt>
                <c:pt idx="7">
                  <c:v>0.22</c:v>
                </c:pt>
                <c:pt idx="8">
                  <c:v>0.49</c:v>
                </c:pt>
                <c:pt idx="9">
                  <c:v>0.24</c:v>
                </c:pt>
                <c:pt idx="1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D9B-4466-87B3-F6DAE4FF26FE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Solar/Turbine</c:v>
                </c:pt>
              </c:strCache>
            </c:strRef>
          </c:tx>
          <c:spPr>
            <a:ln w="28575" cap="rnd">
              <a:solidFill>
                <a:srgbClr val="009D9C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K$2:$K$12</c:f>
              <c:numCache>
                <c:formatCode>0%</c:formatCode>
                <c:ptCount val="11"/>
                <c:pt idx="0">
                  <c:v>0.188330871491876</c:v>
                </c:pt>
                <c:pt idx="1">
                  <c:v>7.3116691285081206E-2</c:v>
                </c:pt>
                <c:pt idx="2">
                  <c:v>8.2717872968980796E-2</c:v>
                </c:pt>
                <c:pt idx="3">
                  <c:v>4.3574593796159501E-2</c:v>
                </c:pt>
                <c:pt idx="4">
                  <c:v>0.289512555391433</c:v>
                </c:pt>
                <c:pt idx="5">
                  <c:v>0.29985228951255499</c:v>
                </c:pt>
                <c:pt idx="6">
                  <c:v>6.3515509601181699E-2</c:v>
                </c:pt>
                <c:pt idx="7">
                  <c:v>0.26883308714918802</c:v>
                </c:pt>
                <c:pt idx="8">
                  <c:v>0.52732644017725305</c:v>
                </c:pt>
                <c:pt idx="9">
                  <c:v>0.225258493353028</c:v>
                </c:pt>
                <c:pt idx="10">
                  <c:v>7.09010339734121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D9B-4466-87B3-F6DAE4FF2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78906992"/>
        <c:axId val="1278905552"/>
      </c:radarChart>
      <c:catAx>
        <c:axId val="1278906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8905552"/>
        <c:crosses val="autoZero"/>
        <c:auto val="1"/>
        <c:lblAlgn val="ctr"/>
        <c:lblOffset val="100"/>
        <c:noMultiLvlLbl val="0"/>
      </c:catAx>
      <c:valAx>
        <c:axId val="1278905552"/>
        <c:scaling>
          <c:orientation val="minMax"/>
          <c:max val="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278906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r"/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9.3012811269259449E-2"/>
          <c:y val="0.45204178537511869"/>
          <c:w val="0.13093834783860567"/>
          <c:h val="0.181760997823989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362075138097276"/>
          <c:y val="0.23599300087489064"/>
          <c:w val="0.27379048748613538"/>
          <c:h val="0.69910177894429859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UBLIC TRANSPOR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B$2:$B$12</c:f>
            </c:numRef>
          </c:val>
          <c:extLst>
            <c:ext xmlns:c16="http://schemas.microsoft.com/office/drawing/2014/chart" uri="{C3380CC4-5D6E-409C-BE32-E72D297353CC}">
              <c16:uniqueId val="{00000000-203E-4823-BC88-24BDF8FAE0F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35+</c:v>
                </c:pt>
              </c:strCache>
            </c:strRef>
          </c:tx>
          <c:spPr>
            <a:ln w="38100" cap="rnd">
              <a:solidFill>
                <a:srgbClr val="D4A3E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0.31</c:v>
                </c:pt>
                <c:pt idx="1">
                  <c:v>0.32</c:v>
                </c:pt>
                <c:pt idx="2">
                  <c:v>0.45</c:v>
                </c:pt>
                <c:pt idx="3">
                  <c:v>0.23</c:v>
                </c:pt>
                <c:pt idx="4">
                  <c:v>0.43</c:v>
                </c:pt>
                <c:pt idx="5">
                  <c:v>0.37</c:v>
                </c:pt>
                <c:pt idx="6">
                  <c:v>0.37</c:v>
                </c:pt>
                <c:pt idx="7">
                  <c:v>0.2</c:v>
                </c:pt>
                <c:pt idx="8">
                  <c:v>0.77</c:v>
                </c:pt>
                <c:pt idx="9">
                  <c:v>0.5</c:v>
                </c:pt>
                <c:pt idx="10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3E-4823-BC88-24BDF8FAE0F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LECTRIC VEHICL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D$2:$D$12</c:f>
            </c:numRef>
          </c:val>
          <c:extLst>
            <c:ext xmlns:c16="http://schemas.microsoft.com/office/drawing/2014/chart" uri="{C3380CC4-5D6E-409C-BE32-E72D297353CC}">
              <c16:uniqueId val="{00000002-203E-4823-BC88-24BDF8FAE0F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ETROFITTING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E$2:$E$12</c:f>
            </c:numRef>
          </c:val>
          <c:extLst>
            <c:ext xmlns:c16="http://schemas.microsoft.com/office/drawing/2014/chart" uri="{C3380CC4-5D6E-409C-BE32-E72D297353CC}">
              <c16:uniqueId val="{00000003-203E-4823-BC88-24BDF8FAE0F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OLAR/TURBINE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F$2:$F$12</c:f>
            </c:numRef>
          </c:val>
          <c:extLst>
            <c:ext xmlns:c16="http://schemas.microsoft.com/office/drawing/2014/chart" uri="{C3380CC4-5D6E-409C-BE32-E72D297353CC}">
              <c16:uniqueId val="{00000004-203E-4823-BC88-24BDF8FAE0F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VEGETARIAN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G$2:$G$12</c:f>
            </c:numRef>
          </c:val>
          <c:extLst>
            <c:ext xmlns:c16="http://schemas.microsoft.com/office/drawing/2014/chart" uri="{C3380CC4-5D6E-409C-BE32-E72D297353CC}">
              <c16:uniqueId val="{00000005-203E-4823-BC88-24BDF8FAE0F0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NO PETS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H$2:$H$12</c:f>
            </c:numRef>
          </c:val>
          <c:extLst>
            <c:ext xmlns:c16="http://schemas.microsoft.com/office/drawing/2014/chart" uri="{C3380CC4-5D6E-409C-BE32-E72D297353CC}">
              <c16:uniqueId val="{00000006-203E-4823-BC88-24BDF8FAE0F0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PURCHASING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I$2:$I$12</c:f>
            </c:numRef>
          </c:val>
          <c:extLst>
            <c:ext xmlns:c16="http://schemas.microsoft.com/office/drawing/2014/chart" uri="{C3380CC4-5D6E-409C-BE32-E72D297353CC}">
              <c16:uniqueId val="{00000007-203E-4823-BC88-24BDF8FAE0F0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U35</c:v>
                </c:pt>
              </c:strCache>
            </c:strRef>
          </c:tx>
          <c:spPr>
            <a:ln w="28575" cap="rnd">
              <a:solidFill>
                <a:schemeClr val="bg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J$2:$J$12</c:f>
              <c:numCache>
                <c:formatCode>0%</c:formatCode>
                <c:ptCount val="11"/>
                <c:pt idx="0">
                  <c:v>0.28000000000000003</c:v>
                </c:pt>
                <c:pt idx="1">
                  <c:v>0.3</c:v>
                </c:pt>
                <c:pt idx="2">
                  <c:v>0.44</c:v>
                </c:pt>
                <c:pt idx="3">
                  <c:v>0.24</c:v>
                </c:pt>
                <c:pt idx="4">
                  <c:v>0.52</c:v>
                </c:pt>
                <c:pt idx="5">
                  <c:v>0.39</c:v>
                </c:pt>
                <c:pt idx="6">
                  <c:v>0.39</c:v>
                </c:pt>
                <c:pt idx="7">
                  <c:v>0.1</c:v>
                </c:pt>
                <c:pt idx="8">
                  <c:v>0.87</c:v>
                </c:pt>
                <c:pt idx="9">
                  <c:v>0.45</c:v>
                </c:pt>
                <c:pt idx="10">
                  <c:v>0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03E-4823-BC88-24BDF8FAE0F0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Fewer Flights</c:v>
                </c:pt>
              </c:strCache>
            </c:strRef>
          </c:tx>
          <c:spPr>
            <a:ln w="28575" cap="rnd">
              <a:solidFill>
                <a:schemeClr val="tx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Outcome expectations</c:v>
                </c:pt>
                <c:pt idx="1">
                  <c:v>Emotion</c:v>
                </c:pt>
                <c:pt idx="2">
                  <c:v>Internalisation</c:v>
                </c:pt>
                <c:pt idx="3">
                  <c:v>Identity</c:v>
                </c:pt>
                <c:pt idx="4">
                  <c:v>Self-efficacy</c:v>
                </c:pt>
                <c:pt idx="5">
                  <c:v>Capability</c:v>
                </c:pt>
                <c:pt idx="6">
                  <c:v>Routines</c:v>
                </c:pt>
                <c:pt idx="7">
                  <c:v>Processing</c:v>
                </c:pt>
                <c:pt idx="8">
                  <c:v>Physical</c:v>
                </c:pt>
                <c:pt idx="9">
                  <c:v>Social</c:v>
                </c:pt>
                <c:pt idx="10">
                  <c:v>Cultural</c:v>
                </c:pt>
              </c:strCache>
            </c:strRef>
          </c:cat>
          <c:val>
            <c:numRef>
              <c:f>Sheet1!$K$2:$K$12</c:f>
              <c:numCache>
                <c:formatCode>0%</c:formatCode>
                <c:ptCount val="11"/>
                <c:pt idx="0">
                  <c:v>0.300163132137031</c:v>
                </c:pt>
                <c:pt idx="1">
                  <c:v>0.31647634584013101</c:v>
                </c:pt>
                <c:pt idx="2">
                  <c:v>0.44535073409461701</c:v>
                </c:pt>
                <c:pt idx="3">
                  <c:v>0.23491027732463299</c:v>
                </c:pt>
                <c:pt idx="4">
                  <c:v>0.45024469820554602</c:v>
                </c:pt>
                <c:pt idx="5">
                  <c:v>0.37846655791190897</c:v>
                </c:pt>
                <c:pt idx="6">
                  <c:v>0.37520391517128898</c:v>
                </c:pt>
                <c:pt idx="7">
                  <c:v>0.17781402936378499</c:v>
                </c:pt>
                <c:pt idx="8">
                  <c:v>0.79282218597063603</c:v>
                </c:pt>
                <c:pt idx="9">
                  <c:v>0.48776508972267502</c:v>
                </c:pt>
                <c:pt idx="10">
                  <c:v>0.64110929853181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03E-4823-BC88-24BDF8FAE0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78906992"/>
        <c:axId val="1278905552"/>
      </c:radarChart>
      <c:catAx>
        <c:axId val="1278906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8905552"/>
        <c:crosses val="autoZero"/>
        <c:auto val="1"/>
        <c:lblAlgn val="ctr"/>
        <c:lblOffset val="100"/>
        <c:noMultiLvlLbl val="0"/>
      </c:catAx>
      <c:valAx>
        <c:axId val="1278905552"/>
        <c:scaling>
          <c:orientation val="minMax"/>
          <c:max val="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278906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13984193807947046"/>
          <c:y val="0.75103932521255345"/>
          <c:w val="0.13093096800773033"/>
          <c:h val="0.181760997823989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117AA6-0B8E-4502-921B-5032FF53D20C}" type="doc">
      <dgm:prSet loTypeId="urn:microsoft.com/office/officeart/2005/8/layout/vList5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GB"/>
        </a:p>
      </dgm:t>
    </dgm:pt>
    <dgm:pt modelId="{A196A8D7-6EB9-4528-9244-3D67C5B350CF}">
      <dgm:prSet phldrT="[Text]"/>
      <dgm:spPr/>
      <dgm:t>
        <a:bodyPr/>
        <a:lstStyle/>
        <a:p>
          <a:pPr>
            <a:buClrTx/>
            <a:buFont typeface="Arial" panose="020B0604020202020204" pitchFamily="34" charset="0"/>
            <a:buChar char="•"/>
          </a:pPr>
          <a:r>
            <a:rPr lang="en-IE" b="1" dirty="0">
              <a:solidFill>
                <a:schemeClr val="bg2"/>
              </a:solidFill>
              <a:ea typeface="Times New Roman" panose="02020603050405020304" pitchFamily="18" charset="0"/>
              <a:cs typeface="Times New Roman" panose="02020603050405020304" pitchFamily="18" charset="0"/>
            </a:rPr>
            <a:t>National Youth Assembly on Climate</a:t>
          </a:r>
          <a:endParaRPr lang="en-GB" dirty="0">
            <a:solidFill>
              <a:schemeClr val="tx1"/>
            </a:solidFill>
          </a:endParaRPr>
        </a:p>
      </dgm:t>
    </dgm:pt>
    <dgm:pt modelId="{76B734B6-6FB2-40A7-9D49-A83FB3BB4904}" type="parTrans" cxnId="{8FBD8996-E708-42E2-AC7B-FB31AC5A9BCF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AED81848-D23A-48B6-9C8E-6757C4D903AF}" type="sibTrans" cxnId="{8FBD8996-E708-42E2-AC7B-FB31AC5A9BCF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AB13B6AF-80E4-47D0-8802-164065EB0DB9}">
      <dgm:prSet/>
      <dgm:spPr/>
      <dgm:t>
        <a:bodyPr/>
        <a:lstStyle/>
        <a:p>
          <a:pPr>
            <a:buClrTx/>
            <a:buFont typeface="Arial" panose="020B0604020202020204" pitchFamily="34" charset="0"/>
            <a:buChar char="•"/>
          </a:pPr>
          <a:r>
            <a:rPr lang="en-IE">
              <a:solidFill>
                <a:schemeClr val="bg2"/>
              </a:solidFill>
            </a:rPr>
            <a:t>150 – 200 young people 12 – 24</a:t>
          </a:r>
          <a:endParaRPr lang="en-IE" dirty="0">
            <a:solidFill>
              <a:schemeClr val="bg2"/>
            </a:solidFill>
          </a:endParaRPr>
        </a:p>
      </dgm:t>
    </dgm:pt>
    <dgm:pt modelId="{1714D92A-9D89-4227-9F98-7D1C2E5A6F72}" type="parTrans" cxnId="{7791C597-85A2-46B4-84E2-94DEADAD54D0}">
      <dgm:prSet/>
      <dgm:spPr/>
      <dgm:t>
        <a:bodyPr/>
        <a:lstStyle/>
        <a:p>
          <a:endParaRPr lang="en-GB"/>
        </a:p>
      </dgm:t>
    </dgm:pt>
    <dgm:pt modelId="{B801F999-3FB2-42A8-8D27-4D4B0EC7CA8B}" type="sibTrans" cxnId="{7791C597-85A2-46B4-84E2-94DEADAD54D0}">
      <dgm:prSet/>
      <dgm:spPr/>
      <dgm:t>
        <a:bodyPr/>
        <a:lstStyle/>
        <a:p>
          <a:endParaRPr lang="en-GB"/>
        </a:p>
      </dgm:t>
    </dgm:pt>
    <dgm:pt modelId="{1C51235C-8AEA-454F-96AA-A7D82BEAA50D}">
      <dgm:prSet/>
      <dgm:spPr/>
      <dgm:t>
        <a:bodyPr/>
        <a:lstStyle/>
        <a:p>
          <a:pPr>
            <a:buClrTx/>
            <a:buFont typeface="Arial" panose="020B0604020202020204" pitchFamily="34" charset="0"/>
            <a:buChar char="•"/>
          </a:pPr>
          <a:r>
            <a:rPr lang="en-IE" b="1" dirty="0">
              <a:solidFill>
                <a:schemeClr val="bg2"/>
              </a:solidFill>
              <a:ea typeface="Times New Roman" panose="02020603050405020304" pitchFamily="18" charset="0"/>
              <a:cs typeface="Times New Roman" panose="02020603050405020304" pitchFamily="18" charset="0"/>
            </a:rPr>
            <a:t>2 National Climate Stakeholder Forum Events</a:t>
          </a:r>
        </a:p>
      </dgm:t>
    </dgm:pt>
    <dgm:pt modelId="{104C161C-C8CB-41C0-AA17-C478CDFA3326}" type="parTrans" cxnId="{3E18A0B8-2E18-45C5-B2B0-FCCFA627EA10}">
      <dgm:prSet/>
      <dgm:spPr/>
      <dgm:t>
        <a:bodyPr/>
        <a:lstStyle/>
        <a:p>
          <a:endParaRPr lang="en-GB"/>
        </a:p>
      </dgm:t>
    </dgm:pt>
    <dgm:pt modelId="{FA6155C0-63F6-402D-8F3F-BBC977C46EFB}" type="sibTrans" cxnId="{3E18A0B8-2E18-45C5-B2B0-FCCFA627EA10}">
      <dgm:prSet/>
      <dgm:spPr/>
      <dgm:t>
        <a:bodyPr/>
        <a:lstStyle/>
        <a:p>
          <a:endParaRPr lang="en-GB"/>
        </a:p>
      </dgm:t>
    </dgm:pt>
    <dgm:pt modelId="{B21A75A0-F833-4A82-BAD6-585D676F1475}">
      <dgm:prSet/>
      <dgm:spPr/>
      <dgm:t>
        <a:bodyPr/>
        <a:lstStyle/>
        <a:p>
          <a:pPr>
            <a:buClrTx/>
            <a:buFont typeface="Arial" panose="020B0604020202020204" pitchFamily="34" charset="0"/>
            <a:buChar char="•"/>
          </a:pPr>
          <a:r>
            <a:rPr lang="en-IE">
              <a:solidFill>
                <a:schemeClr val="bg2"/>
              </a:solidFill>
            </a:rPr>
            <a:t>200+ stakeholders engaged in cocreating policy</a:t>
          </a:r>
          <a:endParaRPr lang="en-IE" dirty="0">
            <a:solidFill>
              <a:schemeClr val="bg2"/>
            </a:solidFill>
          </a:endParaRPr>
        </a:p>
      </dgm:t>
    </dgm:pt>
    <dgm:pt modelId="{2FE83EAC-F9EF-4CA2-8AFF-19F181F334D8}" type="parTrans" cxnId="{6A984B7D-95F1-4501-8932-50CA128B73FD}">
      <dgm:prSet/>
      <dgm:spPr/>
      <dgm:t>
        <a:bodyPr/>
        <a:lstStyle/>
        <a:p>
          <a:endParaRPr lang="en-GB"/>
        </a:p>
      </dgm:t>
    </dgm:pt>
    <dgm:pt modelId="{087C959D-BE06-4C6A-B2BB-45ED35C3AE12}" type="sibTrans" cxnId="{6A984B7D-95F1-4501-8932-50CA128B73FD}">
      <dgm:prSet/>
      <dgm:spPr/>
      <dgm:t>
        <a:bodyPr/>
        <a:lstStyle/>
        <a:p>
          <a:endParaRPr lang="en-GB"/>
        </a:p>
      </dgm:t>
    </dgm:pt>
    <dgm:pt modelId="{B3F02133-D823-4FCE-95D3-D959BD778EB3}">
      <dgm:prSet/>
      <dgm:spPr/>
      <dgm:t>
        <a:bodyPr/>
        <a:lstStyle/>
        <a:p>
          <a:pPr>
            <a:buClrTx/>
            <a:buFont typeface="Arial" panose="020B0604020202020204" pitchFamily="34" charset="0"/>
            <a:buChar char="•"/>
          </a:pPr>
          <a:r>
            <a:rPr lang="en-IE" b="1">
              <a:solidFill>
                <a:schemeClr val="bg2"/>
              </a:solidFill>
              <a:ea typeface="Times New Roman" panose="02020603050405020304" pitchFamily="18" charset="0"/>
              <a:cs typeface="Calibri" panose="020F0502020204030204" pitchFamily="34" charset="0"/>
            </a:rPr>
            <a:t>2023 Climate Conversations Online Survey</a:t>
          </a:r>
          <a:endParaRPr lang="en-IE" b="1" dirty="0">
            <a:solidFill>
              <a:schemeClr val="bg2"/>
            </a:solidFill>
            <a:ea typeface="Times New Roman" panose="02020603050405020304" pitchFamily="18" charset="0"/>
            <a:cs typeface="Calibri" panose="020F0502020204030204" pitchFamily="34" charset="0"/>
          </a:endParaRPr>
        </a:p>
      </dgm:t>
    </dgm:pt>
    <dgm:pt modelId="{744ED80B-0535-49EC-AA78-F954F22D4337}" type="parTrans" cxnId="{2AAB8D7C-2E28-4FA5-AA37-9DEDE82DB226}">
      <dgm:prSet/>
      <dgm:spPr/>
      <dgm:t>
        <a:bodyPr/>
        <a:lstStyle/>
        <a:p>
          <a:endParaRPr lang="en-GB"/>
        </a:p>
      </dgm:t>
    </dgm:pt>
    <dgm:pt modelId="{02573E48-4584-4CAA-BAF7-9CA18F190F0A}" type="sibTrans" cxnId="{2AAB8D7C-2E28-4FA5-AA37-9DEDE82DB226}">
      <dgm:prSet/>
      <dgm:spPr/>
      <dgm:t>
        <a:bodyPr/>
        <a:lstStyle/>
        <a:p>
          <a:endParaRPr lang="en-GB"/>
        </a:p>
      </dgm:t>
    </dgm:pt>
    <dgm:pt modelId="{688B8A05-7225-4D3B-920F-791B57C23B4E}">
      <dgm:prSet/>
      <dgm:spPr/>
      <dgm:t>
        <a:bodyPr/>
        <a:lstStyle/>
        <a:p>
          <a:pPr>
            <a:buClrTx/>
            <a:buFont typeface="Arial" panose="020B0604020202020204" pitchFamily="34" charset="0"/>
            <a:buChar char="•"/>
          </a:pPr>
          <a:r>
            <a:rPr lang="en-IE">
              <a:solidFill>
                <a:schemeClr val="bg2"/>
              </a:solidFill>
            </a:rPr>
            <a:t>4,000 people consulted</a:t>
          </a:r>
          <a:endParaRPr lang="en-IE" dirty="0">
            <a:solidFill>
              <a:schemeClr val="bg2"/>
            </a:solidFill>
          </a:endParaRPr>
        </a:p>
      </dgm:t>
    </dgm:pt>
    <dgm:pt modelId="{7C209815-AEF5-456A-8916-B6773DFC8EC3}" type="parTrans" cxnId="{1DE9880E-5424-4C02-879D-94B098EF1A25}">
      <dgm:prSet/>
      <dgm:spPr/>
      <dgm:t>
        <a:bodyPr/>
        <a:lstStyle/>
        <a:p>
          <a:endParaRPr lang="en-GB"/>
        </a:p>
      </dgm:t>
    </dgm:pt>
    <dgm:pt modelId="{3AA0C513-1475-4B7E-9626-6F20D5DC2EE5}" type="sibTrans" cxnId="{1DE9880E-5424-4C02-879D-94B098EF1A25}">
      <dgm:prSet/>
      <dgm:spPr/>
      <dgm:t>
        <a:bodyPr/>
        <a:lstStyle/>
        <a:p>
          <a:endParaRPr lang="en-GB"/>
        </a:p>
      </dgm:t>
    </dgm:pt>
    <dgm:pt modelId="{EA56F995-CA73-4D01-A8DA-10C8187FF915}">
      <dgm:prSet/>
      <dgm:spPr/>
      <dgm:t>
        <a:bodyPr/>
        <a:lstStyle/>
        <a:p>
          <a:pPr>
            <a:buClrTx/>
            <a:buFont typeface="Arial" panose="020B0604020202020204" pitchFamily="34" charset="0"/>
            <a:buChar char="•"/>
          </a:pPr>
          <a:r>
            <a:rPr lang="en-IE">
              <a:solidFill>
                <a:schemeClr val="bg2"/>
              </a:solidFill>
            </a:rPr>
            <a:t>12 workshops inc. vulnerable populations</a:t>
          </a:r>
          <a:endParaRPr lang="en-IE" dirty="0">
            <a:solidFill>
              <a:schemeClr val="bg2"/>
            </a:solidFill>
          </a:endParaRPr>
        </a:p>
      </dgm:t>
    </dgm:pt>
    <dgm:pt modelId="{91043A7D-26DF-455C-8184-3C6919B34E37}" type="parTrans" cxnId="{F279F86D-AC8A-4957-B119-165C46DDBC79}">
      <dgm:prSet/>
      <dgm:spPr/>
      <dgm:t>
        <a:bodyPr/>
        <a:lstStyle/>
        <a:p>
          <a:endParaRPr lang="en-GB"/>
        </a:p>
      </dgm:t>
    </dgm:pt>
    <dgm:pt modelId="{6CF5B332-5F10-4A59-A5C0-BB3F8DB9105A}" type="sibTrans" cxnId="{F279F86D-AC8A-4957-B119-165C46DDBC79}">
      <dgm:prSet/>
      <dgm:spPr/>
      <dgm:t>
        <a:bodyPr/>
        <a:lstStyle/>
        <a:p>
          <a:endParaRPr lang="en-GB"/>
        </a:p>
      </dgm:t>
    </dgm:pt>
    <dgm:pt modelId="{ED2DC9E8-1762-4703-A66C-D18B4C9089C9}">
      <dgm:prSet/>
      <dgm:spPr/>
      <dgm:t>
        <a:bodyPr/>
        <a:lstStyle/>
        <a:p>
          <a:pPr>
            <a:buClrTx/>
            <a:buFont typeface="Arial" panose="020B0604020202020204" pitchFamily="34" charset="0"/>
            <a:buChar char="•"/>
          </a:pPr>
          <a:r>
            <a:rPr lang="en-IE" b="1">
              <a:solidFill>
                <a:schemeClr val="bg2"/>
              </a:solidFill>
              <a:ea typeface="Times New Roman" panose="02020603050405020304" pitchFamily="18" charset="0"/>
              <a:cs typeface="Calibri" panose="020F0502020204030204" pitchFamily="34" charset="0"/>
            </a:rPr>
            <a:t>EPA Climate Change in the Irish Mind </a:t>
          </a:r>
          <a:endParaRPr lang="en-IE" b="1" dirty="0">
            <a:solidFill>
              <a:schemeClr val="bg2"/>
            </a:solidFill>
            <a:ea typeface="Times New Roman" panose="02020603050405020304" pitchFamily="18" charset="0"/>
            <a:cs typeface="Calibri" panose="020F0502020204030204" pitchFamily="34" charset="0"/>
          </a:endParaRPr>
        </a:p>
      </dgm:t>
    </dgm:pt>
    <dgm:pt modelId="{C565F904-039B-42FD-9BF9-D39E10E248C7}" type="parTrans" cxnId="{F5403943-9F6D-46F8-A798-214742D315B9}">
      <dgm:prSet/>
      <dgm:spPr/>
      <dgm:t>
        <a:bodyPr/>
        <a:lstStyle/>
        <a:p>
          <a:endParaRPr lang="en-GB"/>
        </a:p>
      </dgm:t>
    </dgm:pt>
    <dgm:pt modelId="{A044B766-2E21-4AC6-9D50-FD3C8B798723}" type="sibTrans" cxnId="{F5403943-9F6D-46F8-A798-214742D315B9}">
      <dgm:prSet/>
      <dgm:spPr/>
      <dgm:t>
        <a:bodyPr/>
        <a:lstStyle/>
        <a:p>
          <a:endParaRPr lang="en-GB"/>
        </a:p>
      </dgm:t>
    </dgm:pt>
    <dgm:pt modelId="{55C2A8C0-6F8A-45A6-8B45-8BAA0CF50AF6}">
      <dgm:prSet/>
      <dgm:spPr/>
      <dgm:t>
        <a:bodyPr/>
        <a:lstStyle/>
        <a:p>
          <a:pPr>
            <a:buClrTx/>
            <a:buFont typeface="Arial" panose="020B0604020202020204" pitchFamily="34" charset="0"/>
            <a:buChar char="•"/>
          </a:pPr>
          <a:r>
            <a:rPr lang="en-IE">
              <a:solidFill>
                <a:schemeClr val="bg2"/>
              </a:solidFill>
            </a:rPr>
            <a:t>Providing nationally representative data </a:t>
          </a:r>
          <a:endParaRPr lang="en-GB" dirty="0">
            <a:solidFill>
              <a:schemeClr val="bg2"/>
            </a:solidFill>
          </a:endParaRPr>
        </a:p>
      </dgm:t>
    </dgm:pt>
    <dgm:pt modelId="{BD4069A8-5640-495D-B834-0E45EF4A9E5A}" type="parTrans" cxnId="{E20E0FCA-D63A-4BA3-BFC2-D0CE13C2FBBE}">
      <dgm:prSet/>
      <dgm:spPr/>
      <dgm:t>
        <a:bodyPr/>
        <a:lstStyle/>
        <a:p>
          <a:endParaRPr lang="en-GB"/>
        </a:p>
      </dgm:t>
    </dgm:pt>
    <dgm:pt modelId="{FB415DB5-7102-4359-B859-A9BBAC408678}" type="sibTrans" cxnId="{E20E0FCA-D63A-4BA3-BFC2-D0CE13C2FBBE}">
      <dgm:prSet/>
      <dgm:spPr/>
      <dgm:t>
        <a:bodyPr/>
        <a:lstStyle/>
        <a:p>
          <a:endParaRPr lang="en-GB"/>
        </a:p>
      </dgm:t>
    </dgm:pt>
    <dgm:pt modelId="{3C0D66AF-ACC9-4528-9EA1-5BE5F2BDADAB}">
      <dgm:prSet/>
      <dgm:spPr/>
      <dgm:t>
        <a:bodyPr/>
        <a:lstStyle/>
        <a:p>
          <a:pPr>
            <a:buClrTx/>
            <a:buFont typeface="Arial" panose="020B0604020202020204" pitchFamily="34" charset="0"/>
            <a:buChar char="•"/>
          </a:pPr>
          <a:r>
            <a:rPr lang="en-GB" b="1">
              <a:solidFill>
                <a:schemeClr val="bg2"/>
              </a:solidFill>
              <a:cs typeface="Calibri" panose="020F0502020204030204" pitchFamily="34" charset="0"/>
            </a:rPr>
            <a:t>Behavioural Insights Mapping</a:t>
          </a:r>
          <a:endParaRPr lang="en-GB" b="1" dirty="0">
            <a:solidFill>
              <a:schemeClr val="bg2"/>
            </a:solidFill>
            <a:cs typeface="Calibri" panose="020F0502020204030204" pitchFamily="34" charset="0"/>
          </a:endParaRPr>
        </a:p>
      </dgm:t>
    </dgm:pt>
    <dgm:pt modelId="{63ACE8AC-BE32-4AEA-AB93-6F02CE54DAA4}" type="parTrans" cxnId="{70D896DB-9417-4766-A11C-EDA8E899C21E}">
      <dgm:prSet/>
      <dgm:spPr/>
      <dgm:t>
        <a:bodyPr/>
        <a:lstStyle/>
        <a:p>
          <a:endParaRPr lang="en-GB"/>
        </a:p>
      </dgm:t>
    </dgm:pt>
    <dgm:pt modelId="{A9B60E75-AEF6-43FA-AC66-E78DCC44BD9B}" type="sibTrans" cxnId="{70D896DB-9417-4766-A11C-EDA8E899C21E}">
      <dgm:prSet/>
      <dgm:spPr/>
      <dgm:t>
        <a:bodyPr/>
        <a:lstStyle/>
        <a:p>
          <a:endParaRPr lang="en-GB"/>
        </a:p>
      </dgm:t>
    </dgm:pt>
    <dgm:pt modelId="{A688D400-F929-4258-85EE-2767B75F2454}">
      <dgm:prSet/>
      <dgm:spPr/>
      <dgm:t>
        <a:bodyPr/>
        <a:lstStyle/>
        <a:p>
          <a:pPr>
            <a:buClrTx/>
            <a:buFont typeface="Arial" panose="020B0604020202020204" pitchFamily="34" charset="0"/>
            <a:buChar char="•"/>
          </a:pPr>
          <a:r>
            <a:rPr lang="en-IE">
              <a:solidFill>
                <a:schemeClr val="bg2"/>
              </a:solidFill>
            </a:rPr>
            <a:t>Exploring 11 barriers to climate action</a:t>
          </a:r>
          <a:endParaRPr lang="en-IE" dirty="0">
            <a:solidFill>
              <a:schemeClr val="bg2"/>
            </a:solidFill>
          </a:endParaRPr>
        </a:p>
      </dgm:t>
    </dgm:pt>
    <dgm:pt modelId="{41135E16-987C-4562-83B4-19EC0E7D6032}" type="parTrans" cxnId="{06BD0E08-936A-46ED-8D21-DED00EADB4B7}">
      <dgm:prSet/>
      <dgm:spPr/>
      <dgm:t>
        <a:bodyPr/>
        <a:lstStyle/>
        <a:p>
          <a:endParaRPr lang="en-GB"/>
        </a:p>
      </dgm:t>
    </dgm:pt>
    <dgm:pt modelId="{75AE96A8-E6E1-47E0-9B38-086AB6DAA761}" type="sibTrans" cxnId="{06BD0E08-936A-46ED-8D21-DED00EADB4B7}">
      <dgm:prSet/>
      <dgm:spPr/>
      <dgm:t>
        <a:bodyPr/>
        <a:lstStyle/>
        <a:p>
          <a:endParaRPr lang="en-GB"/>
        </a:p>
      </dgm:t>
    </dgm:pt>
    <dgm:pt modelId="{08D4BD68-4B3F-48B6-883A-6080477F6307}" type="pres">
      <dgm:prSet presAssocID="{3E117AA6-0B8E-4502-921B-5032FF53D20C}" presName="Name0" presStyleCnt="0">
        <dgm:presLayoutVars>
          <dgm:dir/>
          <dgm:animLvl val="lvl"/>
          <dgm:resizeHandles val="exact"/>
        </dgm:presLayoutVars>
      </dgm:prSet>
      <dgm:spPr/>
    </dgm:pt>
    <dgm:pt modelId="{EF0997E0-1495-45C6-AFDC-BD78B7C07533}" type="pres">
      <dgm:prSet presAssocID="{A196A8D7-6EB9-4528-9244-3D67C5B350CF}" presName="linNode" presStyleCnt="0"/>
      <dgm:spPr/>
    </dgm:pt>
    <dgm:pt modelId="{46670FBB-1E58-49E4-8D70-F598DA88DC13}" type="pres">
      <dgm:prSet presAssocID="{A196A8D7-6EB9-4528-9244-3D67C5B350CF}" presName="parentText" presStyleLbl="node1" presStyleIdx="0" presStyleCnt="5">
        <dgm:presLayoutVars>
          <dgm:chMax val="1"/>
          <dgm:bulletEnabled val="1"/>
        </dgm:presLayoutVars>
      </dgm:prSet>
      <dgm:spPr/>
    </dgm:pt>
    <dgm:pt modelId="{8FDF77A4-7D0D-4E17-981B-91BA1F6917AD}" type="pres">
      <dgm:prSet presAssocID="{A196A8D7-6EB9-4528-9244-3D67C5B350CF}" presName="descendantText" presStyleLbl="alignAccFollowNode1" presStyleIdx="0" presStyleCnt="5">
        <dgm:presLayoutVars>
          <dgm:bulletEnabled val="1"/>
        </dgm:presLayoutVars>
      </dgm:prSet>
      <dgm:spPr/>
    </dgm:pt>
    <dgm:pt modelId="{AC66B100-0AB3-4F98-9034-A8F8A4E576DB}" type="pres">
      <dgm:prSet presAssocID="{AED81848-D23A-48B6-9C8E-6757C4D903AF}" presName="sp" presStyleCnt="0"/>
      <dgm:spPr/>
    </dgm:pt>
    <dgm:pt modelId="{5C4264EB-6303-4E0D-8D7A-C4EB56F76C13}" type="pres">
      <dgm:prSet presAssocID="{1C51235C-8AEA-454F-96AA-A7D82BEAA50D}" presName="linNode" presStyleCnt="0"/>
      <dgm:spPr/>
    </dgm:pt>
    <dgm:pt modelId="{D78AEE46-9C2F-4171-9E9B-B7387B7D51B4}" type="pres">
      <dgm:prSet presAssocID="{1C51235C-8AEA-454F-96AA-A7D82BEAA50D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8FF5F1BA-AEA2-4495-8CFA-FAD9D7CE2D88}" type="pres">
      <dgm:prSet presAssocID="{1C51235C-8AEA-454F-96AA-A7D82BEAA50D}" presName="descendantText" presStyleLbl="alignAccFollowNode1" presStyleIdx="1" presStyleCnt="5">
        <dgm:presLayoutVars>
          <dgm:bulletEnabled val="1"/>
        </dgm:presLayoutVars>
      </dgm:prSet>
      <dgm:spPr/>
    </dgm:pt>
    <dgm:pt modelId="{2586E8E7-6381-4F5B-9845-F0215895B639}" type="pres">
      <dgm:prSet presAssocID="{FA6155C0-63F6-402D-8F3F-BBC977C46EFB}" presName="sp" presStyleCnt="0"/>
      <dgm:spPr/>
    </dgm:pt>
    <dgm:pt modelId="{AF107015-3549-4046-9571-4A397DE166A1}" type="pres">
      <dgm:prSet presAssocID="{B3F02133-D823-4FCE-95D3-D959BD778EB3}" presName="linNode" presStyleCnt="0"/>
      <dgm:spPr/>
    </dgm:pt>
    <dgm:pt modelId="{BEBBADAD-B213-4C0B-A245-DBB722A4EFF8}" type="pres">
      <dgm:prSet presAssocID="{B3F02133-D823-4FCE-95D3-D959BD778EB3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5D472FD2-7C88-4306-A989-59EF2DBAE396}" type="pres">
      <dgm:prSet presAssocID="{B3F02133-D823-4FCE-95D3-D959BD778EB3}" presName="descendantText" presStyleLbl="alignAccFollowNode1" presStyleIdx="2" presStyleCnt="5">
        <dgm:presLayoutVars>
          <dgm:bulletEnabled val="1"/>
        </dgm:presLayoutVars>
      </dgm:prSet>
      <dgm:spPr/>
    </dgm:pt>
    <dgm:pt modelId="{EE159032-899C-437A-9F66-3DC9D93CFD5E}" type="pres">
      <dgm:prSet presAssocID="{02573E48-4584-4CAA-BAF7-9CA18F190F0A}" presName="sp" presStyleCnt="0"/>
      <dgm:spPr/>
    </dgm:pt>
    <dgm:pt modelId="{21F732E4-8A20-4635-B463-98B38DB3145D}" type="pres">
      <dgm:prSet presAssocID="{ED2DC9E8-1762-4703-A66C-D18B4C9089C9}" presName="linNode" presStyleCnt="0"/>
      <dgm:spPr/>
    </dgm:pt>
    <dgm:pt modelId="{2311E593-9C6B-49B2-95EC-42B8C094947B}" type="pres">
      <dgm:prSet presAssocID="{ED2DC9E8-1762-4703-A66C-D18B4C9089C9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11493A11-FAF2-4BCF-82B6-8FA1C63796ED}" type="pres">
      <dgm:prSet presAssocID="{ED2DC9E8-1762-4703-A66C-D18B4C9089C9}" presName="descendantText" presStyleLbl="alignAccFollowNode1" presStyleIdx="3" presStyleCnt="5">
        <dgm:presLayoutVars>
          <dgm:bulletEnabled val="1"/>
        </dgm:presLayoutVars>
      </dgm:prSet>
      <dgm:spPr/>
    </dgm:pt>
    <dgm:pt modelId="{00F6157C-A4A3-4CF6-A530-177E5E9E1CAB}" type="pres">
      <dgm:prSet presAssocID="{A044B766-2E21-4AC6-9D50-FD3C8B798723}" presName="sp" presStyleCnt="0"/>
      <dgm:spPr/>
    </dgm:pt>
    <dgm:pt modelId="{415491C1-D343-43A1-86B2-78A9666FF8DF}" type="pres">
      <dgm:prSet presAssocID="{3C0D66AF-ACC9-4528-9EA1-5BE5F2BDADAB}" presName="linNode" presStyleCnt="0"/>
      <dgm:spPr/>
    </dgm:pt>
    <dgm:pt modelId="{3896A33D-9C61-4BBF-806C-F7BEF0A6E7DD}" type="pres">
      <dgm:prSet presAssocID="{3C0D66AF-ACC9-4528-9EA1-5BE5F2BDADAB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A79EA514-D2EF-489C-A39C-8E3BDBAED9A6}" type="pres">
      <dgm:prSet presAssocID="{3C0D66AF-ACC9-4528-9EA1-5BE5F2BDADAB}" presName="descendantText" presStyleLbl="alignAccFollowNode1" presStyleIdx="4" presStyleCnt="5">
        <dgm:presLayoutVars>
          <dgm:bulletEnabled val="1"/>
        </dgm:presLayoutVars>
      </dgm:prSet>
      <dgm:spPr/>
    </dgm:pt>
  </dgm:ptLst>
  <dgm:cxnLst>
    <dgm:cxn modelId="{F9EF3D06-D74F-4533-AEA9-1332EEB771EE}" type="presOf" srcId="{55C2A8C0-6F8A-45A6-8B45-8BAA0CF50AF6}" destId="{11493A11-FAF2-4BCF-82B6-8FA1C63796ED}" srcOrd="0" destOrd="0" presId="urn:microsoft.com/office/officeart/2005/8/layout/vList5"/>
    <dgm:cxn modelId="{06BD0E08-936A-46ED-8D21-DED00EADB4B7}" srcId="{3C0D66AF-ACC9-4528-9EA1-5BE5F2BDADAB}" destId="{A688D400-F929-4258-85EE-2767B75F2454}" srcOrd="0" destOrd="0" parTransId="{41135E16-987C-4562-83B4-19EC0E7D6032}" sibTransId="{75AE96A8-E6E1-47E0-9B38-086AB6DAA761}"/>
    <dgm:cxn modelId="{1DE9880E-5424-4C02-879D-94B098EF1A25}" srcId="{B3F02133-D823-4FCE-95D3-D959BD778EB3}" destId="{688B8A05-7225-4D3B-920F-791B57C23B4E}" srcOrd="0" destOrd="0" parTransId="{7C209815-AEF5-456A-8916-B6773DFC8EC3}" sibTransId="{3AA0C513-1475-4B7E-9626-6F20D5DC2EE5}"/>
    <dgm:cxn modelId="{BFA3401E-C4F4-423F-9D61-2B427B238FF2}" type="presOf" srcId="{A196A8D7-6EB9-4528-9244-3D67C5B350CF}" destId="{46670FBB-1E58-49E4-8D70-F598DA88DC13}" srcOrd="0" destOrd="0" presId="urn:microsoft.com/office/officeart/2005/8/layout/vList5"/>
    <dgm:cxn modelId="{7340E81F-B6EF-4AEA-A51A-5453313A8748}" type="presOf" srcId="{B3F02133-D823-4FCE-95D3-D959BD778EB3}" destId="{BEBBADAD-B213-4C0B-A245-DBB722A4EFF8}" srcOrd="0" destOrd="0" presId="urn:microsoft.com/office/officeart/2005/8/layout/vList5"/>
    <dgm:cxn modelId="{CDBF7A2A-55F8-4FA1-B209-DAD64D59EBE4}" type="presOf" srcId="{EA56F995-CA73-4D01-A8DA-10C8187FF915}" destId="{5D472FD2-7C88-4306-A989-59EF2DBAE396}" srcOrd="0" destOrd="1" presId="urn:microsoft.com/office/officeart/2005/8/layout/vList5"/>
    <dgm:cxn modelId="{62CB2C34-1A99-4E7C-9931-07829130D42F}" type="presOf" srcId="{A688D400-F929-4258-85EE-2767B75F2454}" destId="{A79EA514-D2EF-489C-A39C-8E3BDBAED9A6}" srcOrd="0" destOrd="0" presId="urn:microsoft.com/office/officeart/2005/8/layout/vList5"/>
    <dgm:cxn modelId="{FBD1323D-93C6-4EFD-82E3-2C9C373DDB3D}" type="presOf" srcId="{3C0D66AF-ACC9-4528-9EA1-5BE5F2BDADAB}" destId="{3896A33D-9C61-4BBF-806C-F7BEF0A6E7DD}" srcOrd="0" destOrd="0" presId="urn:microsoft.com/office/officeart/2005/8/layout/vList5"/>
    <dgm:cxn modelId="{77A07442-7BB2-4EDE-ADE7-F1AB7163F471}" type="presOf" srcId="{AB13B6AF-80E4-47D0-8802-164065EB0DB9}" destId="{8FDF77A4-7D0D-4E17-981B-91BA1F6917AD}" srcOrd="0" destOrd="0" presId="urn:microsoft.com/office/officeart/2005/8/layout/vList5"/>
    <dgm:cxn modelId="{F5403943-9F6D-46F8-A798-214742D315B9}" srcId="{3E117AA6-0B8E-4502-921B-5032FF53D20C}" destId="{ED2DC9E8-1762-4703-A66C-D18B4C9089C9}" srcOrd="3" destOrd="0" parTransId="{C565F904-039B-42FD-9BF9-D39E10E248C7}" sibTransId="{A044B766-2E21-4AC6-9D50-FD3C8B798723}"/>
    <dgm:cxn modelId="{F279F86D-AC8A-4957-B119-165C46DDBC79}" srcId="{B3F02133-D823-4FCE-95D3-D959BD778EB3}" destId="{EA56F995-CA73-4D01-A8DA-10C8187FF915}" srcOrd="1" destOrd="0" parTransId="{91043A7D-26DF-455C-8184-3C6919B34E37}" sibTransId="{6CF5B332-5F10-4A59-A5C0-BB3F8DB9105A}"/>
    <dgm:cxn modelId="{C76D5551-8BB4-4B70-B653-301A15455C2D}" type="presOf" srcId="{1C51235C-8AEA-454F-96AA-A7D82BEAA50D}" destId="{D78AEE46-9C2F-4171-9E9B-B7387B7D51B4}" srcOrd="0" destOrd="0" presId="urn:microsoft.com/office/officeart/2005/8/layout/vList5"/>
    <dgm:cxn modelId="{8CE53D78-E68E-496F-BB3C-4A99FE03A607}" type="presOf" srcId="{B21A75A0-F833-4A82-BAD6-585D676F1475}" destId="{8FF5F1BA-AEA2-4495-8CFA-FAD9D7CE2D88}" srcOrd="0" destOrd="0" presId="urn:microsoft.com/office/officeart/2005/8/layout/vList5"/>
    <dgm:cxn modelId="{2AAB8D7C-2E28-4FA5-AA37-9DEDE82DB226}" srcId="{3E117AA6-0B8E-4502-921B-5032FF53D20C}" destId="{B3F02133-D823-4FCE-95D3-D959BD778EB3}" srcOrd="2" destOrd="0" parTransId="{744ED80B-0535-49EC-AA78-F954F22D4337}" sibTransId="{02573E48-4584-4CAA-BAF7-9CA18F190F0A}"/>
    <dgm:cxn modelId="{6A984B7D-95F1-4501-8932-50CA128B73FD}" srcId="{1C51235C-8AEA-454F-96AA-A7D82BEAA50D}" destId="{B21A75A0-F833-4A82-BAD6-585D676F1475}" srcOrd="0" destOrd="0" parTransId="{2FE83EAC-F9EF-4CA2-8AFF-19F181F334D8}" sibTransId="{087C959D-BE06-4C6A-B2BB-45ED35C3AE12}"/>
    <dgm:cxn modelId="{755E3B8C-4FFF-4728-94CB-A764F55007AD}" type="presOf" srcId="{3E117AA6-0B8E-4502-921B-5032FF53D20C}" destId="{08D4BD68-4B3F-48B6-883A-6080477F6307}" srcOrd="0" destOrd="0" presId="urn:microsoft.com/office/officeart/2005/8/layout/vList5"/>
    <dgm:cxn modelId="{4384398D-8F46-45E7-AA69-B9F95B437965}" type="presOf" srcId="{ED2DC9E8-1762-4703-A66C-D18B4C9089C9}" destId="{2311E593-9C6B-49B2-95EC-42B8C094947B}" srcOrd="0" destOrd="0" presId="urn:microsoft.com/office/officeart/2005/8/layout/vList5"/>
    <dgm:cxn modelId="{8FBD8996-E708-42E2-AC7B-FB31AC5A9BCF}" srcId="{3E117AA6-0B8E-4502-921B-5032FF53D20C}" destId="{A196A8D7-6EB9-4528-9244-3D67C5B350CF}" srcOrd="0" destOrd="0" parTransId="{76B734B6-6FB2-40A7-9D49-A83FB3BB4904}" sibTransId="{AED81848-D23A-48B6-9C8E-6757C4D903AF}"/>
    <dgm:cxn modelId="{7791C597-85A2-46B4-84E2-94DEADAD54D0}" srcId="{A196A8D7-6EB9-4528-9244-3D67C5B350CF}" destId="{AB13B6AF-80E4-47D0-8802-164065EB0DB9}" srcOrd="0" destOrd="0" parTransId="{1714D92A-9D89-4227-9F98-7D1C2E5A6F72}" sibTransId="{B801F999-3FB2-42A8-8D27-4D4B0EC7CA8B}"/>
    <dgm:cxn modelId="{E11884A5-63F0-4C71-9BF0-02B4B535DBB7}" type="presOf" srcId="{688B8A05-7225-4D3B-920F-791B57C23B4E}" destId="{5D472FD2-7C88-4306-A989-59EF2DBAE396}" srcOrd="0" destOrd="0" presId="urn:microsoft.com/office/officeart/2005/8/layout/vList5"/>
    <dgm:cxn modelId="{3E18A0B8-2E18-45C5-B2B0-FCCFA627EA10}" srcId="{3E117AA6-0B8E-4502-921B-5032FF53D20C}" destId="{1C51235C-8AEA-454F-96AA-A7D82BEAA50D}" srcOrd="1" destOrd="0" parTransId="{104C161C-C8CB-41C0-AA17-C478CDFA3326}" sibTransId="{FA6155C0-63F6-402D-8F3F-BBC977C46EFB}"/>
    <dgm:cxn modelId="{E20E0FCA-D63A-4BA3-BFC2-D0CE13C2FBBE}" srcId="{ED2DC9E8-1762-4703-A66C-D18B4C9089C9}" destId="{55C2A8C0-6F8A-45A6-8B45-8BAA0CF50AF6}" srcOrd="0" destOrd="0" parTransId="{BD4069A8-5640-495D-B834-0E45EF4A9E5A}" sibTransId="{FB415DB5-7102-4359-B859-A9BBAC408678}"/>
    <dgm:cxn modelId="{70D896DB-9417-4766-A11C-EDA8E899C21E}" srcId="{3E117AA6-0B8E-4502-921B-5032FF53D20C}" destId="{3C0D66AF-ACC9-4528-9EA1-5BE5F2BDADAB}" srcOrd="4" destOrd="0" parTransId="{63ACE8AC-BE32-4AEA-AB93-6F02CE54DAA4}" sibTransId="{A9B60E75-AEF6-43FA-AC66-E78DCC44BD9B}"/>
    <dgm:cxn modelId="{CB3332D9-A627-4697-9FAA-6181C5BDB454}" type="presParOf" srcId="{08D4BD68-4B3F-48B6-883A-6080477F6307}" destId="{EF0997E0-1495-45C6-AFDC-BD78B7C07533}" srcOrd="0" destOrd="0" presId="urn:microsoft.com/office/officeart/2005/8/layout/vList5"/>
    <dgm:cxn modelId="{F1478006-9715-4177-91CA-A2484468099F}" type="presParOf" srcId="{EF0997E0-1495-45C6-AFDC-BD78B7C07533}" destId="{46670FBB-1E58-49E4-8D70-F598DA88DC13}" srcOrd="0" destOrd="0" presId="urn:microsoft.com/office/officeart/2005/8/layout/vList5"/>
    <dgm:cxn modelId="{C1C21CCC-063A-47E9-92B6-86943F939147}" type="presParOf" srcId="{EF0997E0-1495-45C6-AFDC-BD78B7C07533}" destId="{8FDF77A4-7D0D-4E17-981B-91BA1F6917AD}" srcOrd="1" destOrd="0" presId="urn:microsoft.com/office/officeart/2005/8/layout/vList5"/>
    <dgm:cxn modelId="{F288DD32-A61B-4E10-98EA-CE8248D539A9}" type="presParOf" srcId="{08D4BD68-4B3F-48B6-883A-6080477F6307}" destId="{AC66B100-0AB3-4F98-9034-A8F8A4E576DB}" srcOrd="1" destOrd="0" presId="urn:microsoft.com/office/officeart/2005/8/layout/vList5"/>
    <dgm:cxn modelId="{C6C6B039-9A5A-441F-9F68-519F8D9A5237}" type="presParOf" srcId="{08D4BD68-4B3F-48B6-883A-6080477F6307}" destId="{5C4264EB-6303-4E0D-8D7A-C4EB56F76C13}" srcOrd="2" destOrd="0" presId="urn:microsoft.com/office/officeart/2005/8/layout/vList5"/>
    <dgm:cxn modelId="{D0AE922F-2767-49CA-AC62-065395415F64}" type="presParOf" srcId="{5C4264EB-6303-4E0D-8D7A-C4EB56F76C13}" destId="{D78AEE46-9C2F-4171-9E9B-B7387B7D51B4}" srcOrd="0" destOrd="0" presId="urn:microsoft.com/office/officeart/2005/8/layout/vList5"/>
    <dgm:cxn modelId="{CFC2F283-CB3D-41C9-8E45-D199BE401679}" type="presParOf" srcId="{5C4264EB-6303-4E0D-8D7A-C4EB56F76C13}" destId="{8FF5F1BA-AEA2-4495-8CFA-FAD9D7CE2D88}" srcOrd="1" destOrd="0" presId="urn:microsoft.com/office/officeart/2005/8/layout/vList5"/>
    <dgm:cxn modelId="{9F8AC2E5-1E83-4D11-9C79-7F9217CE891D}" type="presParOf" srcId="{08D4BD68-4B3F-48B6-883A-6080477F6307}" destId="{2586E8E7-6381-4F5B-9845-F0215895B639}" srcOrd="3" destOrd="0" presId="urn:microsoft.com/office/officeart/2005/8/layout/vList5"/>
    <dgm:cxn modelId="{760B2C18-3D74-4DCA-8643-F0FF6C189B7B}" type="presParOf" srcId="{08D4BD68-4B3F-48B6-883A-6080477F6307}" destId="{AF107015-3549-4046-9571-4A397DE166A1}" srcOrd="4" destOrd="0" presId="urn:microsoft.com/office/officeart/2005/8/layout/vList5"/>
    <dgm:cxn modelId="{4D66AE30-16AF-4359-A61E-61F946BDFA50}" type="presParOf" srcId="{AF107015-3549-4046-9571-4A397DE166A1}" destId="{BEBBADAD-B213-4C0B-A245-DBB722A4EFF8}" srcOrd="0" destOrd="0" presId="urn:microsoft.com/office/officeart/2005/8/layout/vList5"/>
    <dgm:cxn modelId="{5A2B984E-EAEF-44F9-B13C-265075B17594}" type="presParOf" srcId="{AF107015-3549-4046-9571-4A397DE166A1}" destId="{5D472FD2-7C88-4306-A989-59EF2DBAE396}" srcOrd="1" destOrd="0" presId="urn:microsoft.com/office/officeart/2005/8/layout/vList5"/>
    <dgm:cxn modelId="{F6276378-8005-4541-A231-375CFDF0DC82}" type="presParOf" srcId="{08D4BD68-4B3F-48B6-883A-6080477F6307}" destId="{EE159032-899C-437A-9F66-3DC9D93CFD5E}" srcOrd="5" destOrd="0" presId="urn:microsoft.com/office/officeart/2005/8/layout/vList5"/>
    <dgm:cxn modelId="{0009721C-3588-4065-A9D5-B2625863AB3F}" type="presParOf" srcId="{08D4BD68-4B3F-48B6-883A-6080477F6307}" destId="{21F732E4-8A20-4635-B463-98B38DB3145D}" srcOrd="6" destOrd="0" presId="urn:microsoft.com/office/officeart/2005/8/layout/vList5"/>
    <dgm:cxn modelId="{2DE2EA2A-9B88-4119-B2E7-34D44E9699DF}" type="presParOf" srcId="{21F732E4-8A20-4635-B463-98B38DB3145D}" destId="{2311E593-9C6B-49B2-95EC-42B8C094947B}" srcOrd="0" destOrd="0" presId="urn:microsoft.com/office/officeart/2005/8/layout/vList5"/>
    <dgm:cxn modelId="{8700BC01-03E8-4159-90D9-D358A0D0BB33}" type="presParOf" srcId="{21F732E4-8A20-4635-B463-98B38DB3145D}" destId="{11493A11-FAF2-4BCF-82B6-8FA1C63796ED}" srcOrd="1" destOrd="0" presId="urn:microsoft.com/office/officeart/2005/8/layout/vList5"/>
    <dgm:cxn modelId="{A5CF2880-146C-4386-A97C-F3C0CF37F266}" type="presParOf" srcId="{08D4BD68-4B3F-48B6-883A-6080477F6307}" destId="{00F6157C-A4A3-4CF6-A530-177E5E9E1CAB}" srcOrd="7" destOrd="0" presId="urn:microsoft.com/office/officeart/2005/8/layout/vList5"/>
    <dgm:cxn modelId="{58C68630-D657-4331-85E0-8E549ADF7B2E}" type="presParOf" srcId="{08D4BD68-4B3F-48B6-883A-6080477F6307}" destId="{415491C1-D343-43A1-86B2-78A9666FF8DF}" srcOrd="8" destOrd="0" presId="urn:microsoft.com/office/officeart/2005/8/layout/vList5"/>
    <dgm:cxn modelId="{1E3CC689-1AC7-4909-A83D-2C1F04B3B18D}" type="presParOf" srcId="{415491C1-D343-43A1-86B2-78A9666FF8DF}" destId="{3896A33D-9C61-4BBF-806C-F7BEF0A6E7DD}" srcOrd="0" destOrd="0" presId="urn:microsoft.com/office/officeart/2005/8/layout/vList5"/>
    <dgm:cxn modelId="{D8B55116-3AFF-40FE-9D76-DC8428C8651A}" type="presParOf" srcId="{415491C1-D343-43A1-86B2-78A9666FF8DF}" destId="{A79EA514-D2EF-489C-A39C-8E3BDBAED9A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CDB05CA-8D68-47CE-9E6B-4379C1E298DA}" type="doc">
      <dgm:prSet loTypeId="urn:microsoft.com/office/officeart/2005/8/layout/lProcess1" loCatId="process" qsTypeId="urn:microsoft.com/office/officeart/2005/8/quickstyle/simple2" qsCatId="simple" csTypeId="urn:microsoft.com/office/officeart/2005/8/colors/accent3_4" csCatId="accent3" phldr="1"/>
      <dgm:spPr/>
      <dgm:t>
        <a:bodyPr/>
        <a:lstStyle/>
        <a:p>
          <a:endParaRPr lang="en-IE"/>
        </a:p>
      </dgm:t>
    </dgm:pt>
    <dgm:pt modelId="{4F053B24-E0B5-4DFE-AFFF-BCBF21BFE32C}">
      <dgm:prSet custT="1"/>
      <dgm:spPr>
        <a:solidFill>
          <a:schemeClr val="accent3">
            <a:lumMod val="50000"/>
          </a:schemeClr>
        </a:solidFill>
      </dgm:spPr>
      <dgm:t>
        <a:bodyPr anchor="ctr"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E" sz="1600" b="1" dirty="0">
              <a:solidFill>
                <a:schemeClr val="bg1"/>
              </a:solidFill>
              <a:latin typeface="+mn-lt"/>
            </a:rPr>
            <a:t>Inputs</a:t>
          </a:r>
          <a:endParaRPr lang="en-IE" sz="1600" dirty="0">
            <a:solidFill>
              <a:schemeClr val="bg1"/>
            </a:solidFill>
            <a:latin typeface="+mn-lt"/>
          </a:endParaRPr>
        </a:p>
      </dgm:t>
    </dgm:pt>
    <dgm:pt modelId="{D0CC96A3-C30B-41F0-B888-0ECE350D5501}" type="parTrans" cxnId="{904A3462-E99A-423E-B2BD-E0DF883CD826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DD5A7279-770D-4F84-9B47-73A98CD9F1F2}" type="sibTrans" cxnId="{904A3462-E99A-423E-B2BD-E0DF883CD826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7DF05EA7-470A-452E-9F3B-9C5E461EADE6}">
      <dgm:prSet custT="1"/>
      <dgm:spPr>
        <a:solidFill>
          <a:schemeClr val="accent1">
            <a:lumMod val="75000"/>
          </a:schemeClr>
        </a:solidFill>
      </dgm:spPr>
      <dgm:t>
        <a:bodyPr anchor="ctr"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E" sz="1600" b="1" dirty="0">
              <a:solidFill>
                <a:schemeClr val="bg1"/>
              </a:solidFill>
              <a:latin typeface="+mn-lt"/>
            </a:rPr>
            <a:t>Activity</a:t>
          </a:r>
        </a:p>
      </dgm:t>
    </dgm:pt>
    <dgm:pt modelId="{317B8F1D-1BB5-4354-89E8-80CA81F4CA70}" type="parTrans" cxnId="{F0C9DCA9-A8B7-420B-B0AA-FC5FDD74F468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09877A96-A573-484B-9EC1-B68593EB4840}" type="sibTrans" cxnId="{F0C9DCA9-A8B7-420B-B0AA-FC5FDD74F468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1800B1E9-FCC2-4B4D-B6CB-E2E8DA5B8544}">
      <dgm:prSet custT="1"/>
      <dgm:spPr/>
      <dgm:t>
        <a:bodyPr anchor="t"/>
        <a:lstStyle/>
        <a:p>
          <a:pPr>
            <a:lnSpc>
              <a:spcPct val="100000"/>
            </a:lnSpc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Communications</a:t>
          </a:r>
        </a:p>
      </dgm:t>
    </dgm:pt>
    <dgm:pt modelId="{F8A1B1C5-FFF8-439A-AFFE-D274891C78AE}" type="parTrans" cxnId="{FA2E3EC6-63F5-4F3C-912E-86DD497F9CAA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E7FBD176-6FFD-4A3E-9E9D-1571DD7C6221}" type="sibTrans" cxnId="{FA2E3EC6-63F5-4F3C-912E-86DD497F9CAA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98A7AF64-09F8-48AB-99F3-047B5353F0D5}">
      <dgm:prSet custT="1"/>
      <dgm:spPr/>
      <dgm:t>
        <a:bodyPr anchor="t"/>
        <a:lstStyle/>
        <a:p>
          <a:pPr marL="285750" lvl="1" indent="-285750" algn="ctr" defTabSz="17780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Replicable model</a:t>
          </a:r>
        </a:p>
      </dgm:t>
    </dgm:pt>
    <dgm:pt modelId="{60FFDFDD-62F7-430C-AEFC-A589054A737E}" type="parTrans" cxnId="{4C054FE4-FE1B-4135-9AD3-D59D87C42288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C265ACEA-4063-46F1-95DE-03C9E77E1F18}" type="sibTrans" cxnId="{4C054FE4-FE1B-4135-9AD3-D59D87C42288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68663F09-791D-48B2-8B7A-5A83B78FCB1E}">
      <dgm:prSet custT="1"/>
      <dgm:spPr/>
      <dgm:t>
        <a:bodyPr anchor="t"/>
        <a:lstStyle/>
        <a:p>
          <a:pPr marL="285750" lvl="1" indent="-285750" algn="ctr" defTabSz="17780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More people supported to take climate action</a:t>
          </a:r>
        </a:p>
      </dgm:t>
    </dgm:pt>
    <dgm:pt modelId="{297B2FE6-4AD1-4CE8-B49B-78B4C3682486}" type="parTrans" cxnId="{BC659299-AA6B-4342-B8E5-4D116121E76E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54BD0A8C-B661-41FB-8E5F-A50B139450C6}" type="sibTrans" cxnId="{BC659299-AA6B-4342-B8E5-4D116121E76E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18A67C22-EFBF-4D51-A77B-50632CF1807A}">
      <dgm:prSet custT="1"/>
      <dgm:spPr/>
      <dgm:t>
        <a:bodyPr anchor="t"/>
        <a:lstStyle/>
        <a:p>
          <a:pPr>
            <a:lnSpc>
              <a:spcPct val="100000"/>
            </a:lnSpc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National events</a:t>
          </a:r>
        </a:p>
      </dgm:t>
    </dgm:pt>
    <dgm:pt modelId="{413D9DD5-F239-4B99-90A8-A131FCC17E41}" type="sibTrans" cxnId="{EB7F5824-7A7D-475E-B430-C608FF1AA533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D06F27AF-DE5F-4451-AD8A-95FACD26D0F4}" type="parTrans" cxnId="{EB7F5824-7A7D-475E-B430-C608FF1AA533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2E2CFA72-631C-404C-9129-77E95444C457}">
      <dgm:prSet custT="1"/>
      <dgm:spPr/>
      <dgm:t>
        <a:bodyPr anchor="t"/>
        <a:lstStyle/>
        <a:p>
          <a:pPr>
            <a:lnSpc>
              <a:spcPct val="100000"/>
            </a:lnSpc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Community activations:</a:t>
          </a:r>
        </a:p>
        <a:p>
          <a:pPr>
            <a:lnSpc>
              <a:spcPct val="100000"/>
            </a:lnSpc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Place, Interest, Vulnerable Populations </a:t>
          </a:r>
        </a:p>
      </dgm:t>
    </dgm:pt>
    <dgm:pt modelId="{21A502D3-78B5-4758-BA0A-F71B5D0640F1}" type="sibTrans" cxnId="{8C1D861A-E6FF-43FD-8B1F-10717C95EE0C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334AA5CB-787E-4461-BF33-4A0F2FC79C5A}" type="parTrans" cxnId="{8C1D861A-E6FF-43FD-8B1F-10717C95EE0C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72C1AE4F-98A3-479C-9A07-776FF06FA64E}">
      <dgm:prSet custT="1"/>
      <dgm:spPr/>
      <dgm:t>
        <a:bodyPr anchor="t"/>
        <a:lstStyle/>
        <a:p>
          <a:pPr marL="285750" lvl="1" indent="-285750" algn="ctr" defTabSz="17780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Resources and training: mapping, toolkits, training, funding, supports</a:t>
          </a:r>
        </a:p>
      </dgm:t>
    </dgm:pt>
    <dgm:pt modelId="{B7FC33B3-D3CD-4E8A-8F08-3F277563EB75}" type="parTrans" cxnId="{81B5AFE3-4A8B-47C3-85F2-D32372AB15D5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AE8AC6D3-A12A-4A25-A87A-C06ADFB7B9A1}" type="sibTrans" cxnId="{81B5AFE3-4A8B-47C3-85F2-D32372AB15D5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E89D1CCF-95BA-4E27-ABA5-FF69670AE356}">
      <dgm:prSet custT="1"/>
      <dgm:spPr>
        <a:solidFill>
          <a:srgbClr val="9FC536">
            <a:alpha val="90000"/>
            <a:tint val="55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FC536">
              <a:alpha val="90000"/>
              <a:tint val="55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5560" tIns="35560" rIns="35560" bIns="35560" numCol="1" spcCol="1270" anchor="t" anchorCtr="0"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Identify barriers &amp; real-world solutions</a:t>
          </a:r>
        </a:p>
      </dgm:t>
    </dgm:pt>
    <dgm:pt modelId="{C8DE1949-EC8D-476D-B0CB-47FA092E4C7A}" type="parTrans" cxnId="{0274C828-3E34-4F6E-BDA1-26C63FD65454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1FA0F38D-CA1A-4BC0-8B85-4AAEDA04EDE6}" type="sibTrans" cxnId="{0274C828-3E34-4F6E-BDA1-26C63FD65454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C332561C-7D69-439D-BAA8-6DC3B82A2D70}">
      <dgm:prSet custT="1"/>
      <dgm:spPr>
        <a:solidFill>
          <a:srgbClr val="C00000"/>
        </a:solidFill>
        <a:ln w="381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5560" tIns="35560" rIns="35560" bIns="35560" numCol="1" spcCol="1270" anchor="ctr" anchorCtr="0"/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E" sz="1600" b="1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Outcomes: Communities</a:t>
          </a:r>
        </a:p>
      </dgm:t>
    </dgm:pt>
    <dgm:pt modelId="{8C2198EC-EF45-41F4-ADDD-9EE12652E78B}" type="parTrans" cxnId="{2004A48D-BB89-4A61-BAA3-EB41DA6DB14D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AA21A155-F344-4FCB-8AFC-92E3BDB98EE6}" type="sibTrans" cxnId="{2004A48D-BB89-4A61-BAA3-EB41DA6DB14D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F4D97F87-A06B-47D6-AC6A-CA39564D86DA}">
      <dgm:prSet custT="1"/>
      <dgm:spPr>
        <a:solidFill>
          <a:srgbClr val="9FC536">
            <a:alpha val="90000"/>
            <a:tint val="55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FC536">
              <a:alpha val="90000"/>
              <a:tint val="55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5560" tIns="35560" rIns="35560" bIns="35560" numCol="1" spcCol="1270" anchor="t" anchorCtr="0"/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Better policy</a:t>
          </a:r>
        </a:p>
      </dgm:t>
    </dgm:pt>
    <dgm:pt modelId="{EF6F4716-CF0D-477D-A88C-FE896842ECB6}" type="parTrans" cxnId="{94390827-CD3C-408E-A97A-7FC01B2D0663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FA7C2988-46CE-4DDF-B16C-7B45FBF7C0F3}" type="sibTrans" cxnId="{94390827-CD3C-408E-A97A-7FC01B2D0663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4DBE3053-CB21-4F32-8660-31D653174062}">
      <dgm:prSet custT="1"/>
      <dgm:spPr>
        <a:solidFill>
          <a:srgbClr val="9FC536">
            <a:alpha val="90000"/>
            <a:tint val="55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FC536">
              <a:alpha val="90000"/>
              <a:tint val="55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5560" tIns="35560" rIns="35560" bIns="35560" numCol="1" spcCol="1270" anchor="t" anchorCtr="0"/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Climate policy</a:t>
          </a:r>
        </a:p>
      </dgm:t>
    </dgm:pt>
    <dgm:pt modelId="{CBE11883-49A0-402E-A0E9-262B8B588FCF}" type="parTrans" cxnId="{41D61EB2-1D90-4F31-98CE-D0D6394488EF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2FBF3A79-8F41-4176-9598-B52DFFA53211}" type="sibTrans" cxnId="{41D61EB2-1D90-4F31-98CE-D0D6394488EF}">
      <dgm:prSet/>
      <dgm:spPr/>
      <dgm:t>
        <a:bodyPr/>
        <a:lstStyle/>
        <a:p>
          <a:endParaRPr lang="en-IE" sz="1600">
            <a:latin typeface="+mn-lt"/>
          </a:endParaRPr>
        </a:p>
      </dgm:t>
    </dgm:pt>
    <dgm:pt modelId="{EC83BDE3-0149-45DB-BB46-71F320EF1AC0}">
      <dgm:prSet custT="1"/>
      <dgm:spPr>
        <a:solidFill>
          <a:srgbClr val="9FC536">
            <a:alpha val="90000"/>
            <a:tint val="55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FC536">
              <a:alpha val="90000"/>
              <a:tint val="55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5560" tIns="35560" rIns="35560" bIns="35560" numCol="1" spcCol="1270" anchor="t" anchorCtr="0"/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Insights</a:t>
          </a:r>
        </a:p>
      </dgm:t>
    </dgm:pt>
    <dgm:pt modelId="{6DDE956A-F38E-4633-B560-CE50485D6334}" type="parTrans" cxnId="{4A98AE2F-1B9B-4769-8276-2FC395A3B0B6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53BB0B65-1D3D-480A-98F8-227CBAD10D18}" type="sibTrans" cxnId="{4A98AE2F-1B9B-4769-8276-2FC395A3B0B6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A7839D2E-50AF-4292-8C4D-E9BC2960E08F}">
      <dgm:prSet custT="1"/>
      <dgm:spPr>
        <a:solidFill>
          <a:srgbClr val="C00000"/>
        </a:solidFill>
      </dgm:spPr>
      <dgm:t>
        <a:bodyPr anchor="ctr"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IE" sz="1600" b="1" dirty="0">
              <a:latin typeface="+mn-lt"/>
            </a:rPr>
            <a:t>Outcomes: Policy</a:t>
          </a:r>
        </a:p>
      </dgm:t>
    </dgm:pt>
    <dgm:pt modelId="{785F3C53-B4B9-412C-BBBE-8BA76D5C083E}" type="parTrans" cxnId="{E5124D09-F54B-46E3-B8AA-ACE33C4A3DD8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AF35D6A3-40EA-4741-8DDB-2043264B8276}" type="sibTrans" cxnId="{E5124D09-F54B-46E3-B8AA-ACE33C4A3DD8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4F2F2D51-096E-4963-BFC8-A787FE6759B6}">
      <dgm:prSet custT="1"/>
      <dgm:spPr/>
      <dgm:t>
        <a:bodyPr anchor="t"/>
        <a:lstStyle/>
        <a:p>
          <a:pPr marL="285750" lvl="1" indent="-285750" algn="ctr" defTabSz="17780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IE" sz="1600" kern="1200" spc="0" baseline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Measurable </a:t>
          </a: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change</a:t>
          </a:r>
        </a:p>
      </dgm:t>
    </dgm:pt>
    <dgm:pt modelId="{CA98ADC9-87BD-40F8-94AA-8BB636BFE4C3}" type="parTrans" cxnId="{1F63F120-8F6B-494A-B56D-C931771A28F3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8D30F601-C3BC-4126-8955-30868D431180}" type="sibTrans" cxnId="{1F63F120-8F6B-494A-B56D-C931771A28F3}">
      <dgm:prSet/>
      <dgm:spPr/>
      <dgm:t>
        <a:bodyPr/>
        <a:lstStyle/>
        <a:p>
          <a:endParaRPr lang="en-IE" sz="2800">
            <a:latin typeface="+mn-lt"/>
          </a:endParaRPr>
        </a:p>
      </dgm:t>
    </dgm:pt>
    <dgm:pt modelId="{B98B5B10-F621-4020-9C09-AC8FC00BFCA8}">
      <dgm:prSet custT="1"/>
      <dgm:spPr>
        <a:solidFill>
          <a:srgbClr val="9FC536">
            <a:alpha val="90000"/>
            <a:tint val="55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FC536">
              <a:alpha val="90000"/>
              <a:tint val="55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35560" tIns="35560" rIns="35560" bIns="35560" numCol="1" spcCol="1270" anchor="t" anchorCtr="0"/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Improved social contract on climate action</a:t>
          </a:r>
        </a:p>
      </dgm:t>
    </dgm:pt>
    <dgm:pt modelId="{448E3691-7FC4-4070-BC2F-3C25C4A6F71D}" type="parTrans" cxnId="{71D10E19-C03E-461C-93F9-CEA0DA9396ED}">
      <dgm:prSet/>
      <dgm:spPr/>
      <dgm:t>
        <a:bodyPr/>
        <a:lstStyle/>
        <a:p>
          <a:endParaRPr lang="en-IE">
            <a:latin typeface="+mn-lt"/>
          </a:endParaRPr>
        </a:p>
      </dgm:t>
    </dgm:pt>
    <dgm:pt modelId="{8D27F07F-13A3-46C5-81AE-D4CFAE53E8D8}" type="sibTrans" cxnId="{71D10E19-C03E-461C-93F9-CEA0DA9396ED}">
      <dgm:prSet/>
      <dgm:spPr/>
      <dgm:t>
        <a:bodyPr/>
        <a:lstStyle/>
        <a:p>
          <a:endParaRPr lang="en-IE">
            <a:latin typeface="+mn-lt"/>
          </a:endParaRPr>
        </a:p>
      </dgm:t>
    </dgm:pt>
    <dgm:pt modelId="{770134E0-B3EC-4CF3-9332-697D5D0B2B63}" type="pres">
      <dgm:prSet presAssocID="{3CDB05CA-8D68-47CE-9E6B-4379C1E298DA}" presName="Name0" presStyleCnt="0">
        <dgm:presLayoutVars>
          <dgm:dir/>
          <dgm:animLvl val="lvl"/>
          <dgm:resizeHandles val="exact"/>
        </dgm:presLayoutVars>
      </dgm:prSet>
      <dgm:spPr/>
    </dgm:pt>
    <dgm:pt modelId="{FCB64D0D-20C8-4BAB-9A3B-EE401D2ABF7D}" type="pres">
      <dgm:prSet presAssocID="{4F053B24-E0B5-4DFE-AFFF-BCBF21BFE32C}" presName="vertFlow" presStyleCnt="0"/>
      <dgm:spPr/>
    </dgm:pt>
    <dgm:pt modelId="{A3879609-D6E3-4136-844C-110C9D91F349}" type="pres">
      <dgm:prSet presAssocID="{4F053B24-E0B5-4DFE-AFFF-BCBF21BFE32C}" presName="header" presStyleLbl="node1" presStyleIdx="0" presStyleCnt="4"/>
      <dgm:spPr/>
    </dgm:pt>
    <dgm:pt modelId="{6AC5C738-B3D4-4BD2-9765-9F759D00F860}" type="pres">
      <dgm:prSet presAssocID="{CBE11883-49A0-402E-A0E9-262B8B588FCF}" presName="parTrans" presStyleLbl="sibTrans2D1" presStyleIdx="0" presStyleCnt="12"/>
      <dgm:spPr/>
    </dgm:pt>
    <dgm:pt modelId="{559F4AA6-FD79-444D-AA83-AB1C4AFA5B69}" type="pres">
      <dgm:prSet presAssocID="{4DBE3053-CB21-4F32-8660-31D653174062}" presName="child" presStyleLbl="alignAccFollowNode1" presStyleIdx="0" presStyleCnt="12">
        <dgm:presLayoutVars>
          <dgm:chMax val="0"/>
          <dgm:bulletEnabled val="1"/>
        </dgm:presLayoutVars>
      </dgm:prSet>
      <dgm:spPr>
        <a:xfrm>
          <a:off x="5569" y="3866515"/>
          <a:ext cx="4042124" cy="1010531"/>
        </a:xfrm>
        <a:prstGeom prst="roundRect">
          <a:avLst>
            <a:gd name="adj" fmla="val 10000"/>
          </a:avLst>
        </a:prstGeom>
      </dgm:spPr>
    </dgm:pt>
    <dgm:pt modelId="{195ADD44-CC5A-487D-8089-E08B053F20D6}" type="pres">
      <dgm:prSet presAssocID="{2FBF3A79-8F41-4176-9598-B52DFFA53211}" presName="sibTrans" presStyleLbl="sibTrans2D1" presStyleIdx="1" presStyleCnt="12"/>
      <dgm:spPr/>
    </dgm:pt>
    <dgm:pt modelId="{F526ACC0-2B5A-42AA-BEEF-73825923FC13}" type="pres">
      <dgm:prSet presAssocID="{EC83BDE3-0149-45DB-BB46-71F320EF1AC0}" presName="child" presStyleLbl="alignAccFollowNode1" presStyleIdx="1" presStyleCnt="12">
        <dgm:presLayoutVars>
          <dgm:chMax val="0"/>
          <dgm:bulletEnabled val="1"/>
        </dgm:presLayoutVars>
      </dgm:prSet>
      <dgm:spPr>
        <a:xfrm>
          <a:off x="5569" y="5230731"/>
          <a:ext cx="4042124" cy="1010531"/>
        </a:xfrm>
        <a:prstGeom prst="roundRect">
          <a:avLst>
            <a:gd name="adj" fmla="val 10000"/>
          </a:avLst>
        </a:prstGeom>
      </dgm:spPr>
    </dgm:pt>
    <dgm:pt modelId="{F78DB29E-D5A9-4001-A59D-A1C2B4989E14}" type="pres">
      <dgm:prSet presAssocID="{4F053B24-E0B5-4DFE-AFFF-BCBF21BFE32C}" presName="hSp" presStyleCnt="0"/>
      <dgm:spPr/>
    </dgm:pt>
    <dgm:pt modelId="{E135C324-72B9-4A2F-B8CD-594114C7236A}" type="pres">
      <dgm:prSet presAssocID="{7DF05EA7-470A-452E-9F3B-9C5E461EADE6}" presName="vertFlow" presStyleCnt="0"/>
      <dgm:spPr/>
    </dgm:pt>
    <dgm:pt modelId="{79927929-EFF4-4D4F-A6F8-DB1216913B64}" type="pres">
      <dgm:prSet presAssocID="{7DF05EA7-470A-452E-9F3B-9C5E461EADE6}" presName="header" presStyleLbl="node1" presStyleIdx="1" presStyleCnt="4"/>
      <dgm:spPr/>
    </dgm:pt>
    <dgm:pt modelId="{60BA5427-89E3-4935-9EBE-E96469672A0A}" type="pres">
      <dgm:prSet presAssocID="{F8A1B1C5-FFF8-439A-AFFE-D274891C78AE}" presName="parTrans" presStyleLbl="sibTrans2D1" presStyleIdx="2" presStyleCnt="12"/>
      <dgm:spPr/>
    </dgm:pt>
    <dgm:pt modelId="{73AAEED8-1990-4403-8F07-58241E181BCA}" type="pres">
      <dgm:prSet presAssocID="{1800B1E9-FCC2-4B4D-B6CB-E2E8DA5B8544}" presName="child" presStyleLbl="alignAccFollowNode1" presStyleIdx="2" presStyleCnt="12">
        <dgm:presLayoutVars>
          <dgm:chMax val="0"/>
          <dgm:bulletEnabled val="1"/>
        </dgm:presLayoutVars>
      </dgm:prSet>
      <dgm:spPr/>
    </dgm:pt>
    <dgm:pt modelId="{24EDD66E-EC3C-403E-8E8F-F1FADD3C143C}" type="pres">
      <dgm:prSet presAssocID="{E7FBD176-6FFD-4A3E-9E9D-1571DD7C6221}" presName="sibTrans" presStyleLbl="sibTrans2D1" presStyleIdx="3" presStyleCnt="12"/>
      <dgm:spPr/>
    </dgm:pt>
    <dgm:pt modelId="{3E64EF0C-54B2-423A-8B9C-AFEC3984CF0F}" type="pres">
      <dgm:prSet presAssocID="{18A67C22-EFBF-4D51-A77B-50632CF1807A}" presName="child" presStyleLbl="alignAccFollowNode1" presStyleIdx="3" presStyleCnt="12">
        <dgm:presLayoutVars>
          <dgm:chMax val="0"/>
          <dgm:bulletEnabled val="1"/>
        </dgm:presLayoutVars>
      </dgm:prSet>
      <dgm:spPr/>
    </dgm:pt>
    <dgm:pt modelId="{88FBEFB6-EBBB-4EBE-86F5-65D80996AE0E}" type="pres">
      <dgm:prSet presAssocID="{413D9DD5-F239-4B99-90A8-A131FCC17E41}" presName="sibTrans" presStyleLbl="sibTrans2D1" presStyleIdx="4" presStyleCnt="12"/>
      <dgm:spPr/>
    </dgm:pt>
    <dgm:pt modelId="{96268172-ADA1-4386-BE81-93A3720B820C}" type="pres">
      <dgm:prSet presAssocID="{2E2CFA72-631C-404C-9129-77E95444C457}" presName="child" presStyleLbl="alignAccFollowNode1" presStyleIdx="4" presStyleCnt="12" custScaleY="152835">
        <dgm:presLayoutVars>
          <dgm:chMax val="0"/>
          <dgm:bulletEnabled val="1"/>
        </dgm:presLayoutVars>
      </dgm:prSet>
      <dgm:spPr/>
    </dgm:pt>
    <dgm:pt modelId="{2ED76A59-EB9D-45F9-AD08-153CF59DE1F2}" type="pres">
      <dgm:prSet presAssocID="{7DF05EA7-470A-452E-9F3B-9C5E461EADE6}" presName="hSp" presStyleCnt="0"/>
      <dgm:spPr/>
    </dgm:pt>
    <dgm:pt modelId="{EDF917FC-3B24-4AB0-A630-0AB42CB79D8D}" type="pres">
      <dgm:prSet presAssocID="{A7839D2E-50AF-4292-8C4D-E9BC2960E08F}" presName="vertFlow" presStyleCnt="0"/>
      <dgm:spPr/>
    </dgm:pt>
    <dgm:pt modelId="{18D4BBB0-81D6-4E6A-8DB1-9BD50E6DC46E}" type="pres">
      <dgm:prSet presAssocID="{A7839D2E-50AF-4292-8C4D-E9BC2960E08F}" presName="header" presStyleLbl="node1" presStyleIdx="2" presStyleCnt="4"/>
      <dgm:spPr/>
    </dgm:pt>
    <dgm:pt modelId="{FC8124B4-814A-48D7-92D5-CDE4405DB8F9}" type="pres">
      <dgm:prSet presAssocID="{C8DE1949-EC8D-476D-B0CB-47FA092E4C7A}" presName="parTrans" presStyleLbl="sibTrans2D1" presStyleIdx="5" presStyleCnt="12"/>
      <dgm:spPr/>
    </dgm:pt>
    <dgm:pt modelId="{6DA82C82-0D72-4190-BD71-6A8D9FEA42CA}" type="pres">
      <dgm:prSet presAssocID="{E89D1CCF-95BA-4E27-ABA5-FF69670AE356}" presName="child" presStyleLbl="alignAccFollowNode1" presStyleIdx="5" presStyleCnt="12">
        <dgm:presLayoutVars>
          <dgm:chMax val="0"/>
          <dgm:bulletEnabled val="1"/>
        </dgm:presLayoutVars>
      </dgm:prSet>
      <dgm:spPr>
        <a:xfrm>
          <a:off x="13829634" y="2502298"/>
          <a:ext cx="4042124" cy="1010531"/>
        </a:xfrm>
        <a:prstGeom prst="roundRect">
          <a:avLst>
            <a:gd name="adj" fmla="val 10000"/>
          </a:avLst>
        </a:prstGeom>
      </dgm:spPr>
    </dgm:pt>
    <dgm:pt modelId="{D7AF5667-2176-4EA0-A9A5-49F6575D035C}" type="pres">
      <dgm:prSet presAssocID="{1FA0F38D-CA1A-4BC0-8B85-4AAEDA04EDE6}" presName="sibTrans" presStyleLbl="sibTrans2D1" presStyleIdx="6" presStyleCnt="12"/>
      <dgm:spPr/>
    </dgm:pt>
    <dgm:pt modelId="{40F4EEF6-2ABC-4C4E-B474-ECEDDD8B7605}" type="pres">
      <dgm:prSet presAssocID="{F4D97F87-A06B-47D6-AC6A-CA39564D86DA}" presName="child" presStyleLbl="alignAccFollowNode1" presStyleIdx="6" presStyleCnt="12">
        <dgm:presLayoutVars>
          <dgm:chMax val="0"/>
          <dgm:bulletEnabled val="1"/>
        </dgm:presLayoutVars>
      </dgm:prSet>
      <dgm:spPr>
        <a:xfrm>
          <a:off x="13829634" y="5230731"/>
          <a:ext cx="4042124" cy="1010531"/>
        </a:xfrm>
        <a:prstGeom prst="roundRect">
          <a:avLst>
            <a:gd name="adj" fmla="val 10000"/>
          </a:avLst>
        </a:prstGeom>
      </dgm:spPr>
    </dgm:pt>
    <dgm:pt modelId="{3605C046-23AD-4796-89E1-8D3E37F0B5D9}" type="pres">
      <dgm:prSet presAssocID="{FA7C2988-46CE-4DDF-B16C-7B45FBF7C0F3}" presName="sibTrans" presStyleLbl="sibTrans2D1" presStyleIdx="7" presStyleCnt="12"/>
      <dgm:spPr/>
    </dgm:pt>
    <dgm:pt modelId="{C87A74BF-C4FB-47D5-A46B-9E19D5FCAB8F}" type="pres">
      <dgm:prSet presAssocID="{B98B5B10-F621-4020-9C09-AC8FC00BFCA8}" presName="child" presStyleLbl="alignAccFollowNode1" presStyleIdx="7" presStyleCnt="12">
        <dgm:presLayoutVars>
          <dgm:chMax val="0"/>
          <dgm:bulletEnabled val="1"/>
        </dgm:presLayoutVars>
      </dgm:prSet>
      <dgm:spPr/>
    </dgm:pt>
    <dgm:pt modelId="{F4FC6882-AD5D-4FCD-9D4F-C48D9167988F}" type="pres">
      <dgm:prSet presAssocID="{A7839D2E-50AF-4292-8C4D-E9BC2960E08F}" presName="hSp" presStyleCnt="0"/>
      <dgm:spPr/>
    </dgm:pt>
    <dgm:pt modelId="{7EBEED01-276C-428C-8614-9CA412B8B61A}" type="pres">
      <dgm:prSet presAssocID="{C332561C-7D69-439D-BAA8-6DC3B82A2D70}" presName="vertFlow" presStyleCnt="0"/>
      <dgm:spPr/>
    </dgm:pt>
    <dgm:pt modelId="{BEAC8023-EC29-4DFD-AAFA-E9B5422E22E9}" type="pres">
      <dgm:prSet presAssocID="{C332561C-7D69-439D-BAA8-6DC3B82A2D70}" presName="header" presStyleLbl="node1" presStyleIdx="3" presStyleCnt="4"/>
      <dgm:spPr>
        <a:xfrm>
          <a:off x="18437655" y="1138081"/>
          <a:ext cx="4042124" cy="1010531"/>
        </a:xfrm>
        <a:prstGeom prst="roundRect">
          <a:avLst>
            <a:gd name="adj" fmla="val 10000"/>
          </a:avLst>
        </a:prstGeom>
      </dgm:spPr>
    </dgm:pt>
    <dgm:pt modelId="{2676AB3D-3D6A-45AC-8BB3-E62E53D92B71}" type="pres">
      <dgm:prSet presAssocID="{B7FC33B3-D3CD-4E8A-8F08-3F277563EB75}" presName="parTrans" presStyleLbl="sibTrans2D1" presStyleIdx="8" presStyleCnt="12"/>
      <dgm:spPr/>
    </dgm:pt>
    <dgm:pt modelId="{96F62590-FE1B-466A-AE69-6FA7DC36A348}" type="pres">
      <dgm:prSet presAssocID="{72C1AE4F-98A3-479C-9A07-776FF06FA64E}" presName="child" presStyleLbl="alignAccFollowNode1" presStyleIdx="8" presStyleCnt="12" custScaleY="175421">
        <dgm:presLayoutVars>
          <dgm:chMax val="0"/>
          <dgm:bulletEnabled val="1"/>
        </dgm:presLayoutVars>
      </dgm:prSet>
      <dgm:spPr/>
    </dgm:pt>
    <dgm:pt modelId="{9662FB41-1BDE-4A70-B1AB-B0BB61CBCFF0}" type="pres">
      <dgm:prSet presAssocID="{AE8AC6D3-A12A-4A25-A87A-C06ADFB7B9A1}" presName="sibTrans" presStyleLbl="sibTrans2D1" presStyleIdx="9" presStyleCnt="12"/>
      <dgm:spPr/>
    </dgm:pt>
    <dgm:pt modelId="{1E1E9BEC-9A4A-404E-94E4-8BFB169F06BE}" type="pres">
      <dgm:prSet presAssocID="{98A7AF64-09F8-48AB-99F3-047B5353F0D5}" presName="child" presStyleLbl="alignAccFollowNode1" presStyleIdx="9" presStyleCnt="12">
        <dgm:presLayoutVars>
          <dgm:chMax val="0"/>
          <dgm:bulletEnabled val="1"/>
        </dgm:presLayoutVars>
      </dgm:prSet>
      <dgm:spPr/>
    </dgm:pt>
    <dgm:pt modelId="{68C9D74C-1C21-4A31-A41F-D56891F67850}" type="pres">
      <dgm:prSet presAssocID="{C265ACEA-4063-46F1-95DE-03C9E77E1F18}" presName="sibTrans" presStyleLbl="sibTrans2D1" presStyleIdx="10" presStyleCnt="12"/>
      <dgm:spPr/>
    </dgm:pt>
    <dgm:pt modelId="{F448A262-2F56-4D12-84E3-AAA6C3B36634}" type="pres">
      <dgm:prSet presAssocID="{68663F09-791D-48B2-8B7A-5A83B78FCB1E}" presName="child" presStyleLbl="alignAccFollowNode1" presStyleIdx="10" presStyleCnt="12">
        <dgm:presLayoutVars>
          <dgm:chMax val="0"/>
          <dgm:bulletEnabled val="1"/>
        </dgm:presLayoutVars>
      </dgm:prSet>
      <dgm:spPr/>
    </dgm:pt>
    <dgm:pt modelId="{EBA0CD02-C91C-419F-A9A2-A2F624749C01}" type="pres">
      <dgm:prSet presAssocID="{54BD0A8C-B661-41FB-8E5F-A50B139450C6}" presName="sibTrans" presStyleLbl="sibTrans2D1" presStyleIdx="11" presStyleCnt="12"/>
      <dgm:spPr/>
    </dgm:pt>
    <dgm:pt modelId="{CC4D49EE-267F-478A-B8D3-0552513A3481}" type="pres">
      <dgm:prSet presAssocID="{4F2F2D51-096E-4963-BFC8-A787FE6759B6}" presName="child" presStyleLbl="alignAccFollowNode1" presStyleIdx="11" presStyleCnt="12">
        <dgm:presLayoutVars>
          <dgm:chMax val="0"/>
          <dgm:bulletEnabled val="1"/>
        </dgm:presLayoutVars>
      </dgm:prSet>
      <dgm:spPr/>
    </dgm:pt>
  </dgm:ptLst>
  <dgm:cxnLst>
    <dgm:cxn modelId="{92263C01-FF43-46C4-8F1F-9E64320C6414}" type="presOf" srcId="{2FBF3A79-8F41-4176-9598-B52DFFA53211}" destId="{195ADD44-CC5A-487D-8089-E08B053F20D6}" srcOrd="0" destOrd="0" presId="urn:microsoft.com/office/officeart/2005/8/layout/lProcess1"/>
    <dgm:cxn modelId="{5B23B901-7295-462B-A98A-747BE0067304}" type="presOf" srcId="{B98B5B10-F621-4020-9C09-AC8FC00BFCA8}" destId="{C87A74BF-C4FB-47D5-A46B-9E19D5FCAB8F}" srcOrd="0" destOrd="0" presId="urn:microsoft.com/office/officeart/2005/8/layout/lProcess1"/>
    <dgm:cxn modelId="{EE458006-5507-4070-861F-31DCC2C03B28}" type="presOf" srcId="{AE8AC6D3-A12A-4A25-A87A-C06ADFB7B9A1}" destId="{9662FB41-1BDE-4A70-B1AB-B0BB61CBCFF0}" srcOrd="0" destOrd="0" presId="urn:microsoft.com/office/officeart/2005/8/layout/lProcess1"/>
    <dgm:cxn modelId="{E5124D09-F54B-46E3-B8AA-ACE33C4A3DD8}" srcId="{3CDB05CA-8D68-47CE-9E6B-4379C1E298DA}" destId="{A7839D2E-50AF-4292-8C4D-E9BC2960E08F}" srcOrd="2" destOrd="0" parTransId="{785F3C53-B4B9-412C-BBBE-8BA76D5C083E}" sibTransId="{AF35D6A3-40EA-4741-8DDB-2043264B8276}"/>
    <dgm:cxn modelId="{BCE0C409-2C19-473C-9D18-63999D13C487}" type="presOf" srcId="{E89D1CCF-95BA-4E27-ABA5-FF69670AE356}" destId="{6DA82C82-0D72-4190-BD71-6A8D9FEA42CA}" srcOrd="0" destOrd="0" presId="urn:microsoft.com/office/officeart/2005/8/layout/lProcess1"/>
    <dgm:cxn modelId="{57F5E50E-DD63-4575-9830-0DEA3FFD5BE7}" type="presOf" srcId="{CBE11883-49A0-402E-A0E9-262B8B588FCF}" destId="{6AC5C738-B3D4-4BD2-9765-9F759D00F860}" srcOrd="0" destOrd="0" presId="urn:microsoft.com/office/officeart/2005/8/layout/lProcess1"/>
    <dgm:cxn modelId="{71D10E19-C03E-461C-93F9-CEA0DA9396ED}" srcId="{A7839D2E-50AF-4292-8C4D-E9BC2960E08F}" destId="{B98B5B10-F621-4020-9C09-AC8FC00BFCA8}" srcOrd="2" destOrd="0" parTransId="{448E3691-7FC4-4070-BC2F-3C25C4A6F71D}" sibTransId="{8D27F07F-13A3-46C5-81AE-D4CFAE53E8D8}"/>
    <dgm:cxn modelId="{A90E7819-381C-4EBC-8A6C-7929827C639A}" type="presOf" srcId="{A7839D2E-50AF-4292-8C4D-E9BC2960E08F}" destId="{18D4BBB0-81D6-4E6A-8DB1-9BD50E6DC46E}" srcOrd="0" destOrd="0" presId="urn:microsoft.com/office/officeart/2005/8/layout/lProcess1"/>
    <dgm:cxn modelId="{8C1D861A-E6FF-43FD-8B1F-10717C95EE0C}" srcId="{7DF05EA7-470A-452E-9F3B-9C5E461EADE6}" destId="{2E2CFA72-631C-404C-9129-77E95444C457}" srcOrd="2" destOrd="0" parTransId="{334AA5CB-787E-4461-BF33-4A0F2FC79C5A}" sibTransId="{21A502D3-78B5-4758-BA0A-F71B5D0640F1}"/>
    <dgm:cxn modelId="{1F63F120-8F6B-494A-B56D-C931771A28F3}" srcId="{C332561C-7D69-439D-BAA8-6DC3B82A2D70}" destId="{4F2F2D51-096E-4963-BFC8-A787FE6759B6}" srcOrd="3" destOrd="0" parTransId="{CA98ADC9-87BD-40F8-94AA-8BB636BFE4C3}" sibTransId="{8D30F601-C3BC-4126-8955-30868D431180}"/>
    <dgm:cxn modelId="{EB7F5824-7A7D-475E-B430-C608FF1AA533}" srcId="{7DF05EA7-470A-452E-9F3B-9C5E461EADE6}" destId="{18A67C22-EFBF-4D51-A77B-50632CF1807A}" srcOrd="1" destOrd="0" parTransId="{D06F27AF-DE5F-4451-AD8A-95FACD26D0F4}" sibTransId="{413D9DD5-F239-4B99-90A8-A131FCC17E41}"/>
    <dgm:cxn modelId="{07185326-B380-44F4-91B4-36AE311479DF}" type="presOf" srcId="{98A7AF64-09F8-48AB-99F3-047B5353F0D5}" destId="{1E1E9BEC-9A4A-404E-94E4-8BFB169F06BE}" srcOrd="0" destOrd="0" presId="urn:microsoft.com/office/officeart/2005/8/layout/lProcess1"/>
    <dgm:cxn modelId="{94390827-CD3C-408E-A97A-7FC01B2D0663}" srcId="{A7839D2E-50AF-4292-8C4D-E9BC2960E08F}" destId="{F4D97F87-A06B-47D6-AC6A-CA39564D86DA}" srcOrd="1" destOrd="0" parTransId="{EF6F4716-CF0D-477D-A88C-FE896842ECB6}" sibTransId="{FA7C2988-46CE-4DDF-B16C-7B45FBF7C0F3}"/>
    <dgm:cxn modelId="{0274C828-3E34-4F6E-BDA1-26C63FD65454}" srcId="{A7839D2E-50AF-4292-8C4D-E9BC2960E08F}" destId="{E89D1CCF-95BA-4E27-ABA5-FF69670AE356}" srcOrd="0" destOrd="0" parTransId="{C8DE1949-EC8D-476D-B0CB-47FA092E4C7A}" sibTransId="{1FA0F38D-CA1A-4BC0-8B85-4AAEDA04EDE6}"/>
    <dgm:cxn modelId="{4A98AE2F-1B9B-4769-8276-2FC395A3B0B6}" srcId="{4F053B24-E0B5-4DFE-AFFF-BCBF21BFE32C}" destId="{EC83BDE3-0149-45DB-BB46-71F320EF1AC0}" srcOrd="1" destOrd="0" parTransId="{6DDE956A-F38E-4633-B560-CE50485D6334}" sibTransId="{53BB0B65-1D3D-480A-98F8-227CBAD10D18}"/>
    <dgm:cxn modelId="{1958DD5F-E363-4629-80C7-46786FD90105}" type="presOf" srcId="{68663F09-791D-48B2-8B7A-5A83B78FCB1E}" destId="{F448A262-2F56-4D12-84E3-AAA6C3B36634}" srcOrd="0" destOrd="0" presId="urn:microsoft.com/office/officeart/2005/8/layout/lProcess1"/>
    <dgm:cxn modelId="{904A3462-E99A-423E-B2BD-E0DF883CD826}" srcId="{3CDB05CA-8D68-47CE-9E6B-4379C1E298DA}" destId="{4F053B24-E0B5-4DFE-AFFF-BCBF21BFE32C}" srcOrd="0" destOrd="0" parTransId="{D0CC96A3-C30B-41F0-B888-0ECE350D5501}" sibTransId="{DD5A7279-770D-4F84-9B47-73A98CD9F1F2}"/>
    <dgm:cxn modelId="{9777E244-2A2B-411E-ADF9-0D118E549800}" type="presOf" srcId="{4F053B24-E0B5-4DFE-AFFF-BCBF21BFE32C}" destId="{A3879609-D6E3-4136-844C-110C9D91F349}" srcOrd="0" destOrd="0" presId="urn:microsoft.com/office/officeart/2005/8/layout/lProcess1"/>
    <dgm:cxn modelId="{F2102D65-54B5-4641-A171-538F8B3B15CB}" type="presOf" srcId="{EC83BDE3-0149-45DB-BB46-71F320EF1AC0}" destId="{F526ACC0-2B5A-42AA-BEEF-73825923FC13}" srcOrd="0" destOrd="0" presId="urn:microsoft.com/office/officeart/2005/8/layout/lProcess1"/>
    <dgm:cxn modelId="{E6F24A45-C0EF-46B2-A409-7812EAC7D2B1}" type="presOf" srcId="{3CDB05CA-8D68-47CE-9E6B-4379C1E298DA}" destId="{770134E0-B3EC-4CF3-9332-697D5D0B2B63}" srcOrd="0" destOrd="0" presId="urn:microsoft.com/office/officeart/2005/8/layout/lProcess1"/>
    <dgm:cxn modelId="{D2590548-BF84-47C9-8C5C-F299DD5357FB}" type="presOf" srcId="{C8DE1949-EC8D-476D-B0CB-47FA092E4C7A}" destId="{FC8124B4-814A-48D7-92D5-CDE4405DB8F9}" srcOrd="0" destOrd="0" presId="urn:microsoft.com/office/officeart/2005/8/layout/lProcess1"/>
    <dgm:cxn modelId="{D5706A4D-B3DE-4A95-A7F3-26F98D08E674}" type="presOf" srcId="{E7FBD176-6FFD-4A3E-9E9D-1571DD7C6221}" destId="{24EDD66E-EC3C-403E-8E8F-F1FADD3C143C}" srcOrd="0" destOrd="0" presId="urn:microsoft.com/office/officeart/2005/8/layout/lProcess1"/>
    <dgm:cxn modelId="{8A21C16D-4BBA-4B7A-A4A2-155AA890A542}" type="presOf" srcId="{C265ACEA-4063-46F1-95DE-03C9E77E1F18}" destId="{68C9D74C-1C21-4A31-A41F-D56891F67850}" srcOrd="0" destOrd="0" presId="urn:microsoft.com/office/officeart/2005/8/layout/lProcess1"/>
    <dgm:cxn modelId="{33C02A54-F0C5-449F-818F-30C7E8B18398}" type="presOf" srcId="{FA7C2988-46CE-4DDF-B16C-7B45FBF7C0F3}" destId="{3605C046-23AD-4796-89E1-8D3E37F0B5D9}" srcOrd="0" destOrd="0" presId="urn:microsoft.com/office/officeart/2005/8/layout/lProcess1"/>
    <dgm:cxn modelId="{14ED7B76-3A60-4BEB-B234-70250813E2AC}" type="presOf" srcId="{4DBE3053-CB21-4F32-8660-31D653174062}" destId="{559F4AA6-FD79-444D-AA83-AB1C4AFA5B69}" srcOrd="0" destOrd="0" presId="urn:microsoft.com/office/officeart/2005/8/layout/lProcess1"/>
    <dgm:cxn modelId="{55D88E8B-50A2-4C8D-BDEA-31785CDC9ADB}" type="presOf" srcId="{2E2CFA72-631C-404C-9129-77E95444C457}" destId="{96268172-ADA1-4386-BE81-93A3720B820C}" srcOrd="0" destOrd="0" presId="urn:microsoft.com/office/officeart/2005/8/layout/lProcess1"/>
    <dgm:cxn modelId="{2004A48D-BB89-4A61-BAA3-EB41DA6DB14D}" srcId="{3CDB05CA-8D68-47CE-9E6B-4379C1E298DA}" destId="{C332561C-7D69-439D-BAA8-6DC3B82A2D70}" srcOrd="3" destOrd="0" parTransId="{8C2198EC-EF45-41F4-ADDD-9EE12652E78B}" sibTransId="{AA21A155-F344-4FCB-8AFC-92E3BDB98EE6}"/>
    <dgm:cxn modelId="{D35B5897-53DD-437E-8C02-1C2FBA2EA3CD}" type="presOf" srcId="{7DF05EA7-470A-452E-9F3B-9C5E461EADE6}" destId="{79927929-EFF4-4D4F-A6F8-DB1216913B64}" srcOrd="0" destOrd="0" presId="urn:microsoft.com/office/officeart/2005/8/layout/lProcess1"/>
    <dgm:cxn modelId="{BC659299-AA6B-4342-B8E5-4D116121E76E}" srcId="{C332561C-7D69-439D-BAA8-6DC3B82A2D70}" destId="{68663F09-791D-48B2-8B7A-5A83B78FCB1E}" srcOrd="2" destOrd="0" parTransId="{297B2FE6-4AD1-4CE8-B49B-78B4C3682486}" sibTransId="{54BD0A8C-B661-41FB-8E5F-A50B139450C6}"/>
    <dgm:cxn modelId="{F0C9DCA9-A8B7-420B-B0AA-FC5FDD74F468}" srcId="{3CDB05CA-8D68-47CE-9E6B-4379C1E298DA}" destId="{7DF05EA7-470A-452E-9F3B-9C5E461EADE6}" srcOrd="1" destOrd="0" parTransId="{317B8F1D-1BB5-4354-89E8-80CA81F4CA70}" sibTransId="{09877A96-A573-484B-9EC1-B68593EB4840}"/>
    <dgm:cxn modelId="{46916CAA-AAB2-4176-9697-F2583E6ABB07}" type="presOf" srcId="{F4D97F87-A06B-47D6-AC6A-CA39564D86DA}" destId="{40F4EEF6-2ABC-4C4E-B474-ECEDDD8B7605}" srcOrd="0" destOrd="0" presId="urn:microsoft.com/office/officeart/2005/8/layout/lProcess1"/>
    <dgm:cxn modelId="{5C559FAA-8162-47CB-A579-FCF7A4F337FB}" type="presOf" srcId="{1FA0F38D-CA1A-4BC0-8B85-4AAEDA04EDE6}" destId="{D7AF5667-2176-4EA0-A9A5-49F6575D035C}" srcOrd="0" destOrd="0" presId="urn:microsoft.com/office/officeart/2005/8/layout/lProcess1"/>
    <dgm:cxn modelId="{41D61EB2-1D90-4F31-98CE-D0D6394488EF}" srcId="{4F053B24-E0B5-4DFE-AFFF-BCBF21BFE32C}" destId="{4DBE3053-CB21-4F32-8660-31D653174062}" srcOrd="0" destOrd="0" parTransId="{CBE11883-49A0-402E-A0E9-262B8B588FCF}" sibTransId="{2FBF3A79-8F41-4176-9598-B52DFFA53211}"/>
    <dgm:cxn modelId="{35D58AB6-8065-418A-9F50-98EA24F504AB}" type="presOf" srcId="{4F2F2D51-096E-4963-BFC8-A787FE6759B6}" destId="{CC4D49EE-267F-478A-B8D3-0552513A3481}" srcOrd="0" destOrd="0" presId="urn:microsoft.com/office/officeart/2005/8/layout/lProcess1"/>
    <dgm:cxn modelId="{FA2E3EC6-63F5-4F3C-912E-86DD497F9CAA}" srcId="{7DF05EA7-470A-452E-9F3B-9C5E461EADE6}" destId="{1800B1E9-FCC2-4B4D-B6CB-E2E8DA5B8544}" srcOrd="0" destOrd="0" parTransId="{F8A1B1C5-FFF8-439A-AFFE-D274891C78AE}" sibTransId="{E7FBD176-6FFD-4A3E-9E9D-1571DD7C6221}"/>
    <dgm:cxn modelId="{E0023CCA-36E2-4B07-BCB8-0708236E31FD}" type="presOf" srcId="{18A67C22-EFBF-4D51-A77B-50632CF1807A}" destId="{3E64EF0C-54B2-423A-8B9C-AFEC3984CF0F}" srcOrd="0" destOrd="0" presId="urn:microsoft.com/office/officeart/2005/8/layout/lProcess1"/>
    <dgm:cxn modelId="{35814AD9-30CF-4790-8D3B-2941A1A20150}" type="presOf" srcId="{F8A1B1C5-FFF8-439A-AFFE-D274891C78AE}" destId="{60BA5427-89E3-4935-9EBE-E96469672A0A}" srcOrd="0" destOrd="0" presId="urn:microsoft.com/office/officeart/2005/8/layout/lProcess1"/>
    <dgm:cxn modelId="{833898D9-5482-44E2-81A0-6BF537B88BCD}" type="presOf" srcId="{B7FC33B3-D3CD-4E8A-8F08-3F277563EB75}" destId="{2676AB3D-3D6A-45AC-8BB3-E62E53D92B71}" srcOrd="0" destOrd="0" presId="urn:microsoft.com/office/officeart/2005/8/layout/lProcess1"/>
    <dgm:cxn modelId="{81B5AFE3-4A8B-47C3-85F2-D32372AB15D5}" srcId="{C332561C-7D69-439D-BAA8-6DC3B82A2D70}" destId="{72C1AE4F-98A3-479C-9A07-776FF06FA64E}" srcOrd="0" destOrd="0" parTransId="{B7FC33B3-D3CD-4E8A-8F08-3F277563EB75}" sibTransId="{AE8AC6D3-A12A-4A25-A87A-C06ADFB7B9A1}"/>
    <dgm:cxn modelId="{4C054FE4-FE1B-4135-9AD3-D59D87C42288}" srcId="{C332561C-7D69-439D-BAA8-6DC3B82A2D70}" destId="{98A7AF64-09F8-48AB-99F3-047B5353F0D5}" srcOrd="1" destOrd="0" parTransId="{60FFDFDD-62F7-430C-AEFC-A589054A737E}" sibTransId="{C265ACEA-4063-46F1-95DE-03C9E77E1F18}"/>
    <dgm:cxn modelId="{474509ED-FD05-486D-81CF-9CEBA8D0EB8F}" type="presOf" srcId="{C332561C-7D69-439D-BAA8-6DC3B82A2D70}" destId="{BEAC8023-EC29-4DFD-AAFA-E9B5422E22E9}" srcOrd="0" destOrd="0" presId="urn:microsoft.com/office/officeart/2005/8/layout/lProcess1"/>
    <dgm:cxn modelId="{016EEBF3-8F33-4D49-BC2C-F8B2661D1A52}" type="presOf" srcId="{72C1AE4F-98A3-479C-9A07-776FF06FA64E}" destId="{96F62590-FE1B-466A-AE69-6FA7DC36A348}" srcOrd="0" destOrd="0" presId="urn:microsoft.com/office/officeart/2005/8/layout/lProcess1"/>
    <dgm:cxn modelId="{4CD92CFC-C0A4-4A60-8ED7-D4CDDEEDD32F}" type="presOf" srcId="{1800B1E9-FCC2-4B4D-B6CB-E2E8DA5B8544}" destId="{73AAEED8-1990-4403-8F07-58241E181BCA}" srcOrd="0" destOrd="0" presId="urn:microsoft.com/office/officeart/2005/8/layout/lProcess1"/>
    <dgm:cxn modelId="{0AF63DFC-8223-4908-B0B5-6DE50C96677F}" type="presOf" srcId="{54BD0A8C-B661-41FB-8E5F-A50B139450C6}" destId="{EBA0CD02-C91C-419F-A9A2-A2F624749C01}" srcOrd="0" destOrd="0" presId="urn:microsoft.com/office/officeart/2005/8/layout/lProcess1"/>
    <dgm:cxn modelId="{66C098FF-4129-4D54-BC25-3F26E624E134}" type="presOf" srcId="{413D9DD5-F239-4B99-90A8-A131FCC17E41}" destId="{88FBEFB6-EBBB-4EBE-86F5-65D80996AE0E}" srcOrd="0" destOrd="0" presId="urn:microsoft.com/office/officeart/2005/8/layout/lProcess1"/>
    <dgm:cxn modelId="{21B77A27-2D10-45AF-91F0-09D49EDAC1B8}" type="presParOf" srcId="{770134E0-B3EC-4CF3-9332-697D5D0B2B63}" destId="{FCB64D0D-20C8-4BAB-9A3B-EE401D2ABF7D}" srcOrd="0" destOrd="0" presId="urn:microsoft.com/office/officeart/2005/8/layout/lProcess1"/>
    <dgm:cxn modelId="{5B154640-E11E-44C3-AC17-79FC2D3782E1}" type="presParOf" srcId="{FCB64D0D-20C8-4BAB-9A3B-EE401D2ABF7D}" destId="{A3879609-D6E3-4136-844C-110C9D91F349}" srcOrd="0" destOrd="0" presId="urn:microsoft.com/office/officeart/2005/8/layout/lProcess1"/>
    <dgm:cxn modelId="{CFB32A0C-B05E-4545-8535-DF3FAB974443}" type="presParOf" srcId="{FCB64D0D-20C8-4BAB-9A3B-EE401D2ABF7D}" destId="{6AC5C738-B3D4-4BD2-9765-9F759D00F860}" srcOrd="1" destOrd="0" presId="urn:microsoft.com/office/officeart/2005/8/layout/lProcess1"/>
    <dgm:cxn modelId="{ED15F905-57C6-4104-B20E-18C1121FA0CC}" type="presParOf" srcId="{FCB64D0D-20C8-4BAB-9A3B-EE401D2ABF7D}" destId="{559F4AA6-FD79-444D-AA83-AB1C4AFA5B69}" srcOrd="2" destOrd="0" presId="urn:microsoft.com/office/officeart/2005/8/layout/lProcess1"/>
    <dgm:cxn modelId="{2653C719-A296-41FD-9C3A-81A607585272}" type="presParOf" srcId="{FCB64D0D-20C8-4BAB-9A3B-EE401D2ABF7D}" destId="{195ADD44-CC5A-487D-8089-E08B053F20D6}" srcOrd="3" destOrd="0" presId="urn:microsoft.com/office/officeart/2005/8/layout/lProcess1"/>
    <dgm:cxn modelId="{474C00E3-E97C-4D7E-AB60-49C22C2811B5}" type="presParOf" srcId="{FCB64D0D-20C8-4BAB-9A3B-EE401D2ABF7D}" destId="{F526ACC0-2B5A-42AA-BEEF-73825923FC13}" srcOrd="4" destOrd="0" presId="urn:microsoft.com/office/officeart/2005/8/layout/lProcess1"/>
    <dgm:cxn modelId="{31F21180-FAC3-471C-849F-9E8E78E93B2A}" type="presParOf" srcId="{770134E0-B3EC-4CF3-9332-697D5D0B2B63}" destId="{F78DB29E-D5A9-4001-A59D-A1C2B4989E14}" srcOrd="1" destOrd="0" presId="urn:microsoft.com/office/officeart/2005/8/layout/lProcess1"/>
    <dgm:cxn modelId="{F2F4E2FF-41C6-49DA-B59E-18B4770E22AA}" type="presParOf" srcId="{770134E0-B3EC-4CF3-9332-697D5D0B2B63}" destId="{E135C324-72B9-4A2F-B8CD-594114C7236A}" srcOrd="2" destOrd="0" presId="urn:microsoft.com/office/officeart/2005/8/layout/lProcess1"/>
    <dgm:cxn modelId="{0CB5B57B-F4AF-43CE-B749-7C79135D5D7A}" type="presParOf" srcId="{E135C324-72B9-4A2F-B8CD-594114C7236A}" destId="{79927929-EFF4-4D4F-A6F8-DB1216913B64}" srcOrd="0" destOrd="0" presId="urn:microsoft.com/office/officeart/2005/8/layout/lProcess1"/>
    <dgm:cxn modelId="{8B302EBA-B830-42FE-92E9-25C027C45543}" type="presParOf" srcId="{E135C324-72B9-4A2F-B8CD-594114C7236A}" destId="{60BA5427-89E3-4935-9EBE-E96469672A0A}" srcOrd="1" destOrd="0" presId="urn:microsoft.com/office/officeart/2005/8/layout/lProcess1"/>
    <dgm:cxn modelId="{D4ABC76A-097A-4829-8088-664BC23CD67B}" type="presParOf" srcId="{E135C324-72B9-4A2F-B8CD-594114C7236A}" destId="{73AAEED8-1990-4403-8F07-58241E181BCA}" srcOrd="2" destOrd="0" presId="urn:microsoft.com/office/officeart/2005/8/layout/lProcess1"/>
    <dgm:cxn modelId="{A44610D7-3723-4EB5-B7E3-B327BDAD5D92}" type="presParOf" srcId="{E135C324-72B9-4A2F-B8CD-594114C7236A}" destId="{24EDD66E-EC3C-403E-8E8F-F1FADD3C143C}" srcOrd="3" destOrd="0" presId="urn:microsoft.com/office/officeart/2005/8/layout/lProcess1"/>
    <dgm:cxn modelId="{30C6A79E-4DA5-4A21-945E-AFE6193F7F66}" type="presParOf" srcId="{E135C324-72B9-4A2F-B8CD-594114C7236A}" destId="{3E64EF0C-54B2-423A-8B9C-AFEC3984CF0F}" srcOrd="4" destOrd="0" presId="urn:microsoft.com/office/officeart/2005/8/layout/lProcess1"/>
    <dgm:cxn modelId="{0FAF1B1E-1892-453D-A113-959307DA0292}" type="presParOf" srcId="{E135C324-72B9-4A2F-B8CD-594114C7236A}" destId="{88FBEFB6-EBBB-4EBE-86F5-65D80996AE0E}" srcOrd="5" destOrd="0" presId="urn:microsoft.com/office/officeart/2005/8/layout/lProcess1"/>
    <dgm:cxn modelId="{F0142AA5-3AD2-4F2A-B1C4-B324663BCD47}" type="presParOf" srcId="{E135C324-72B9-4A2F-B8CD-594114C7236A}" destId="{96268172-ADA1-4386-BE81-93A3720B820C}" srcOrd="6" destOrd="0" presId="urn:microsoft.com/office/officeart/2005/8/layout/lProcess1"/>
    <dgm:cxn modelId="{FB016B3D-647E-4D0A-A9C9-9227AD8F4664}" type="presParOf" srcId="{770134E0-B3EC-4CF3-9332-697D5D0B2B63}" destId="{2ED76A59-EB9D-45F9-AD08-153CF59DE1F2}" srcOrd="3" destOrd="0" presId="urn:microsoft.com/office/officeart/2005/8/layout/lProcess1"/>
    <dgm:cxn modelId="{FB2CF447-33DC-4472-89CE-C47F6AEFDDF9}" type="presParOf" srcId="{770134E0-B3EC-4CF3-9332-697D5D0B2B63}" destId="{EDF917FC-3B24-4AB0-A630-0AB42CB79D8D}" srcOrd="4" destOrd="0" presId="urn:microsoft.com/office/officeart/2005/8/layout/lProcess1"/>
    <dgm:cxn modelId="{9B82398D-5C45-4CA8-A737-FCD6219682FC}" type="presParOf" srcId="{EDF917FC-3B24-4AB0-A630-0AB42CB79D8D}" destId="{18D4BBB0-81D6-4E6A-8DB1-9BD50E6DC46E}" srcOrd="0" destOrd="0" presId="urn:microsoft.com/office/officeart/2005/8/layout/lProcess1"/>
    <dgm:cxn modelId="{2C6F4DCE-1415-4B50-9F71-814DA8CDB7A6}" type="presParOf" srcId="{EDF917FC-3B24-4AB0-A630-0AB42CB79D8D}" destId="{FC8124B4-814A-48D7-92D5-CDE4405DB8F9}" srcOrd="1" destOrd="0" presId="urn:microsoft.com/office/officeart/2005/8/layout/lProcess1"/>
    <dgm:cxn modelId="{FBFCC66C-0272-412D-9991-85523CE1CB28}" type="presParOf" srcId="{EDF917FC-3B24-4AB0-A630-0AB42CB79D8D}" destId="{6DA82C82-0D72-4190-BD71-6A8D9FEA42CA}" srcOrd="2" destOrd="0" presId="urn:microsoft.com/office/officeart/2005/8/layout/lProcess1"/>
    <dgm:cxn modelId="{78EB787A-C3F8-45B5-B3BE-DC8971211404}" type="presParOf" srcId="{EDF917FC-3B24-4AB0-A630-0AB42CB79D8D}" destId="{D7AF5667-2176-4EA0-A9A5-49F6575D035C}" srcOrd="3" destOrd="0" presId="urn:microsoft.com/office/officeart/2005/8/layout/lProcess1"/>
    <dgm:cxn modelId="{42917053-74BE-4D1B-B847-965C3C67BA2E}" type="presParOf" srcId="{EDF917FC-3B24-4AB0-A630-0AB42CB79D8D}" destId="{40F4EEF6-2ABC-4C4E-B474-ECEDDD8B7605}" srcOrd="4" destOrd="0" presId="urn:microsoft.com/office/officeart/2005/8/layout/lProcess1"/>
    <dgm:cxn modelId="{ADC3DC3D-362C-4972-8EA2-B55E44497FFC}" type="presParOf" srcId="{EDF917FC-3B24-4AB0-A630-0AB42CB79D8D}" destId="{3605C046-23AD-4796-89E1-8D3E37F0B5D9}" srcOrd="5" destOrd="0" presId="urn:microsoft.com/office/officeart/2005/8/layout/lProcess1"/>
    <dgm:cxn modelId="{F9AE682A-CF36-46BC-9005-86526F8C40E4}" type="presParOf" srcId="{EDF917FC-3B24-4AB0-A630-0AB42CB79D8D}" destId="{C87A74BF-C4FB-47D5-A46B-9E19D5FCAB8F}" srcOrd="6" destOrd="0" presId="urn:microsoft.com/office/officeart/2005/8/layout/lProcess1"/>
    <dgm:cxn modelId="{E861A05B-BA64-46DD-B916-744ED3F3AF64}" type="presParOf" srcId="{770134E0-B3EC-4CF3-9332-697D5D0B2B63}" destId="{F4FC6882-AD5D-4FCD-9D4F-C48D9167988F}" srcOrd="5" destOrd="0" presId="urn:microsoft.com/office/officeart/2005/8/layout/lProcess1"/>
    <dgm:cxn modelId="{DDF5C7C8-152F-4945-9B21-44143EE1853D}" type="presParOf" srcId="{770134E0-B3EC-4CF3-9332-697D5D0B2B63}" destId="{7EBEED01-276C-428C-8614-9CA412B8B61A}" srcOrd="6" destOrd="0" presId="urn:microsoft.com/office/officeart/2005/8/layout/lProcess1"/>
    <dgm:cxn modelId="{CDFAB3E6-C013-4206-AF2A-D56B7DFF3D91}" type="presParOf" srcId="{7EBEED01-276C-428C-8614-9CA412B8B61A}" destId="{BEAC8023-EC29-4DFD-AAFA-E9B5422E22E9}" srcOrd="0" destOrd="0" presId="urn:microsoft.com/office/officeart/2005/8/layout/lProcess1"/>
    <dgm:cxn modelId="{3A96EE63-6B49-4461-8AA1-A70A86473DA2}" type="presParOf" srcId="{7EBEED01-276C-428C-8614-9CA412B8B61A}" destId="{2676AB3D-3D6A-45AC-8BB3-E62E53D92B71}" srcOrd="1" destOrd="0" presId="urn:microsoft.com/office/officeart/2005/8/layout/lProcess1"/>
    <dgm:cxn modelId="{E3A92053-BE03-42F1-A935-4EFD38B5B74D}" type="presParOf" srcId="{7EBEED01-276C-428C-8614-9CA412B8B61A}" destId="{96F62590-FE1B-466A-AE69-6FA7DC36A348}" srcOrd="2" destOrd="0" presId="urn:microsoft.com/office/officeart/2005/8/layout/lProcess1"/>
    <dgm:cxn modelId="{F11E7314-B966-4923-B615-73DF70524FAF}" type="presParOf" srcId="{7EBEED01-276C-428C-8614-9CA412B8B61A}" destId="{9662FB41-1BDE-4A70-B1AB-B0BB61CBCFF0}" srcOrd="3" destOrd="0" presId="urn:microsoft.com/office/officeart/2005/8/layout/lProcess1"/>
    <dgm:cxn modelId="{52141922-A67D-4406-812E-E3F2FA09ADAD}" type="presParOf" srcId="{7EBEED01-276C-428C-8614-9CA412B8B61A}" destId="{1E1E9BEC-9A4A-404E-94E4-8BFB169F06BE}" srcOrd="4" destOrd="0" presId="urn:microsoft.com/office/officeart/2005/8/layout/lProcess1"/>
    <dgm:cxn modelId="{72A4F256-1C65-4D9C-A393-304065A943F3}" type="presParOf" srcId="{7EBEED01-276C-428C-8614-9CA412B8B61A}" destId="{68C9D74C-1C21-4A31-A41F-D56891F67850}" srcOrd="5" destOrd="0" presId="urn:microsoft.com/office/officeart/2005/8/layout/lProcess1"/>
    <dgm:cxn modelId="{4E2E5EDF-79A1-4513-9E9A-7DF339910358}" type="presParOf" srcId="{7EBEED01-276C-428C-8614-9CA412B8B61A}" destId="{F448A262-2F56-4D12-84E3-AAA6C3B36634}" srcOrd="6" destOrd="0" presId="urn:microsoft.com/office/officeart/2005/8/layout/lProcess1"/>
    <dgm:cxn modelId="{E2F1F73E-D203-4896-AD38-5F28EE184D9D}" type="presParOf" srcId="{7EBEED01-276C-428C-8614-9CA412B8B61A}" destId="{EBA0CD02-C91C-419F-A9A2-A2F624749C01}" srcOrd="7" destOrd="0" presId="urn:microsoft.com/office/officeart/2005/8/layout/lProcess1"/>
    <dgm:cxn modelId="{3D7A1985-AD99-4A31-A916-38B5756FAD1B}" type="presParOf" srcId="{7EBEED01-276C-428C-8614-9CA412B8B61A}" destId="{CC4D49EE-267F-478A-B8D3-0552513A3481}" srcOrd="8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DF77A4-7D0D-4E17-981B-91BA1F6917AD}">
      <dsp:nvSpPr>
        <dsp:cNvPr id="0" name=""/>
        <dsp:cNvSpPr/>
      </dsp:nvSpPr>
      <dsp:spPr>
        <a:xfrm rot="5400000">
          <a:off x="3429848" y="-1393053"/>
          <a:ext cx="562945" cy="3493008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Font typeface="Arial" panose="020B0604020202020204" pitchFamily="34" charset="0"/>
            <a:buChar char="•"/>
          </a:pPr>
          <a:r>
            <a:rPr lang="en-IE" sz="1400" kern="1200">
              <a:solidFill>
                <a:schemeClr val="bg2"/>
              </a:solidFill>
            </a:rPr>
            <a:t>150 – 200 young people 12 – 24</a:t>
          </a:r>
          <a:endParaRPr lang="en-IE" sz="1400" kern="1200" dirty="0">
            <a:solidFill>
              <a:schemeClr val="bg2"/>
            </a:solidFill>
          </a:endParaRPr>
        </a:p>
      </dsp:txBody>
      <dsp:txXfrm rot="-5400000">
        <a:off x="1964817" y="99459"/>
        <a:ext cx="3465527" cy="507983"/>
      </dsp:txXfrm>
    </dsp:sp>
    <dsp:sp modelId="{46670FBB-1E58-49E4-8D70-F598DA88DC13}">
      <dsp:nvSpPr>
        <dsp:cNvPr id="0" name=""/>
        <dsp:cNvSpPr/>
      </dsp:nvSpPr>
      <dsp:spPr>
        <a:xfrm>
          <a:off x="0" y="1609"/>
          <a:ext cx="1964817" cy="703681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Font typeface="Arial" panose="020B0604020202020204" pitchFamily="34" charset="0"/>
            <a:buNone/>
          </a:pPr>
          <a:r>
            <a:rPr lang="en-IE" sz="1400" b="1" kern="1200" dirty="0">
              <a:solidFill>
                <a:schemeClr val="bg2"/>
              </a:solidFill>
              <a:ea typeface="Times New Roman" panose="02020603050405020304" pitchFamily="18" charset="0"/>
              <a:cs typeface="Times New Roman" panose="02020603050405020304" pitchFamily="18" charset="0"/>
            </a:rPr>
            <a:t>National Youth Assembly on Climate</a:t>
          </a:r>
          <a:endParaRPr lang="en-GB" sz="1400" kern="1200" dirty="0">
            <a:solidFill>
              <a:schemeClr val="tx1"/>
            </a:solidFill>
          </a:endParaRPr>
        </a:p>
      </dsp:txBody>
      <dsp:txXfrm>
        <a:off x="34351" y="35960"/>
        <a:ext cx="1896115" cy="634979"/>
      </dsp:txXfrm>
    </dsp:sp>
    <dsp:sp modelId="{8FF5F1BA-AEA2-4495-8CFA-FAD9D7CE2D88}">
      <dsp:nvSpPr>
        <dsp:cNvPr id="0" name=""/>
        <dsp:cNvSpPr/>
      </dsp:nvSpPr>
      <dsp:spPr>
        <a:xfrm rot="5400000">
          <a:off x="3429848" y="-654188"/>
          <a:ext cx="562945" cy="3493008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Font typeface="Arial" panose="020B0604020202020204" pitchFamily="34" charset="0"/>
            <a:buChar char="•"/>
          </a:pPr>
          <a:r>
            <a:rPr lang="en-IE" sz="1400" kern="1200">
              <a:solidFill>
                <a:schemeClr val="bg2"/>
              </a:solidFill>
            </a:rPr>
            <a:t>200+ stakeholders engaged in cocreating policy</a:t>
          </a:r>
          <a:endParaRPr lang="en-IE" sz="1400" kern="1200" dirty="0">
            <a:solidFill>
              <a:schemeClr val="bg2"/>
            </a:solidFill>
          </a:endParaRPr>
        </a:p>
      </dsp:txBody>
      <dsp:txXfrm rot="-5400000">
        <a:off x="1964817" y="838324"/>
        <a:ext cx="3465527" cy="507983"/>
      </dsp:txXfrm>
    </dsp:sp>
    <dsp:sp modelId="{D78AEE46-9C2F-4171-9E9B-B7387B7D51B4}">
      <dsp:nvSpPr>
        <dsp:cNvPr id="0" name=""/>
        <dsp:cNvSpPr/>
      </dsp:nvSpPr>
      <dsp:spPr>
        <a:xfrm>
          <a:off x="0" y="740475"/>
          <a:ext cx="1964817" cy="703681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Font typeface="Arial" panose="020B0604020202020204" pitchFamily="34" charset="0"/>
            <a:buNone/>
          </a:pPr>
          <a:r>
            <a:rPr lang="en-IE" sz="1400" b="1" kern="1200" dirty="0">
              <a:solidFill>
                <a:schemeClr val="bg2"/>
              </a:solidFill>
              <a:ea typeface="Times New Roman" panose="02020603050405020304" pitchFamily="18" charset="0"/>
              <a:cs typeface="Times New Roman" panose="02020603050405020304" pitchFamily="18" charset="0"/>
            </a:rPr>
            <a:t>2 National Climate Stakeholder Forum Events</a:t>
          </a:r>
        </a:p>
      </dsp:txBody>
      <dsp:txXfrm>
        <a:off x="34351" y="774826"/>
        <a:ext cx="1896115" cy="634979"/>
      </dsp:txXfrm>
    </dsp:sp>
    <dsp:sp modelId="{5D472FD2-7C88-4306-A989-59EF2DBAE396}">
      <dsp:nvSpPr>
        <dsp:cNvPr id="0" name=""/>
        <dsp:cNvSpPr/>
      </dsp:nvSpPr>
      <dsp:spPr>
        <a:xfrm rot="5400000">
          <a:off x="3429848" y="84677"/>
          <a:ext cx="562945" cy="3493008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Font typeface="Arial" panose="020B0604020202020204" pitchFamily="34" charset="0"/>
            <a:buChar char="•"/>
          </a:pPr>
          <a:r>
            <a:rPr lang="en-IE" sz="1400" kern="1200">
              <a:solidFill>
                <a:schemeClr val="bg2"/>
              </a:solidFill>
            </a:rPr>
            <a:t>4,000 people consulted</a:t>
          </a:r>
          <a:endParaRPr lang="en-IE" sz="1400" kern="1200" dirty="0">
            <a:solidFill>
              <a:schemeClr val="bg2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Font typeface="Arial" panose="020B0604020202020204" pitchFamily="34" charset="0"/>
            <a:buChar char="•"/>
          </a:pPr>
          <a:r>
            <a:rPr lang="en-IE" sz="1400" kern="1200">
              <a:solidFill>
                <a:schemeClr val="bg2"/>
              </a:solidFill>
            </a:rPr>
            <a:t>12 workshops inc. vulnerable populations</a:t>
          </a:r>
          <a:endParaRPr lang="en-IE" sz="1400" kern="1200" dirty="0">
            <a:solidFill>
              <a:schemeClr val="bg2"/>
            </a:solidFill>
          </a:endParaRPr>
        </a:p>
      </dsp:txBody>
      <dsp:txXfrm rot="-5400000">
        <a:off x="1964817" y="1577190"/>
        <a:ext cx="3465527" cy="507983"/>
      </dsp:txXfrm>
    </dsp:sp>
    <dsp:sp modelId="{BEBBADAD-B213-4C0B-A245-DBB722A4EFF8}">
      <dsp:nvSpPr>
        <dsp:cNvPr id="0" name=""/>
        <dsp:cNvSpPr/>
      </dsp:nvSpPr>
      <dsp:spPr>
        <a:xfrm>
          <a:off x="0" y="1479340"/>
          <a:ext cx="1964817" cy="703681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Font typeface="Arial" panose="020B0604020202020204" pitchFamily="34" charset="0"/>
            <a:buNone/>
          </a:pPr>
          <a:r>
            <a:rPr lang="en-IE" sz="1400" b="1" kern="1200">
              <a:solidFill>
                <a:schemeClr val="bg2"/>
              </a:solidFill>
              <a:ea typeface="Times New Roman" panose="02020603050405020304" pitchFamily="18" charset="0"/>
              <a:cs typeface="Calibri" panose="020F0502020204030204" pitchFamily="34" charset="0"/>
            </a:rPr>
            <a:t>2023 Climate Conversations Online Survey</a:t>
          </a:r>
          <a:endParaRPr lang="en-IE" sz="1400" b="1" kern="1200" dirty="0">
            <a:solidFill>
              <a:schemeClr val="bg2"/>
            </a:solidFill>
            <a:ea typeface="Times New Roman" panose="02020603050405020304" pitchFamily="18" charset="0"/>
            <a:cs typeface="Calibri" panose="020F0502020204030204" pitchFamily="34" charset="0"/>
          </a:endParaRPr>
        </a:p>
      </dsp:txBody>
      <dsp:txXfrm>
        <a:off x="34351" y="1513691"/>
        <a:ext cx="1896115" cy="634979"/>
      </dsp:txXfrm>
    </dsp:sp>
    <dsp:sp modelId="{11493A11-FAF2-4BCF-82B6-8FA1C63796ED}">
      <dsp:nvSpPr>
        <dsp:cNvPr id="0" name=""/>
        <dsp:cNvSpPr/>
      </dsp:nvSpPr>
      <dsp:spPr>
        <a:xfrm rot="5400000">
          <a:off x="3429848" y="823543"/>
          <a:ext cx="562945" cy="3493008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Font typeface="Arial" panose="020B0604020202020204" pitchFamily="34" charset="0"/>
            <a:buChar char="•"/>
          </a:pPr>
          <a:r>
            <a:rPr lang="en-IE" sz="1400" kern="1200">
              <a:solidFill>
                <a:schemeClr val="bg2"/>
              </a:solidFill>
            </a:rPr>
            <a:t>Providing nationally representative data </a:t>
          </a:r>
          <a:endParaRPr lang="en-GB" sz="1400" kern="1200" dirty="0">
            <a:solidFill>
              <a:schemeClr val="bg2"/>
            </a:solidFill>
          </a:endParaRPr>
        </a:p>
      </dsp:txBody>
      <dsp:txXfrm rot="-5400000">
        <a:off x="1964817" y="2316056"/>
        <a:ext cx="3465527" cy="507983"/>
      </dsp:txXfrm>
    </dsp:sp>
    <dsp:sp modelId="{2311E593-9C6B-49B2-95EC-42B8C094947B}">
      <dsp:nvSpPr>
        <dsp:cNvPr id="0" name=""/>
        <dsp:cNvSpPr/>
      </dsp:nvSpPr>
      <dsp:spPr>
        <a:xfrm>
          <a:off x="0" y="2218206"/>
          <a:ext cx="1964817" cy="703681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Font typeface="Arial" panose="020B0604020202020204" pitchFamily="34" charset="0"/>
            <a:buNone/>
          </a:pPr>
          <a:r>
            <a:rPr lang="en-IE" sz="1400" b="1" kern="1200">
              <a:solidFill>
                <a:schemeClr val="bg2"/>
              </a:solidFill>
              <a:ea typeface="Times New Roman" panose="02020603050405020304" pitchFamily="18" charset="0"/>
              <a:cs typeface="Calibri" panose="020F0502020204030204" pitchFamily="34" charset="0"/>
            </a:rPr>
            <a:t>EPA Climate Change in the Irish Mind </a:t>
          </a:r>
          <a:endParaRPr lang="en-IE" sz="1400" b="1" kern="1200" dirty="0">
            <a:solidFill>
              <a:schemeClr val="bg2"/>
            </a:solidFill>
            <a:ea typeface="Times New Roman" panose="02020603050405020304" pitchFamily="18" charset="0"/>
            <a:cs typeface="Calibri" panose="020F0502020204030204" pitchFamily="34" charset="0"/>
          </a:endParaRPr>
        </a:p>
      </dsp:txBody>
      <dsp:txXfrm>
        <a:off x="34351" y="2252557"/>
        <a:ext cx="1896115" cy="634979"/>
      </dsp:txXfrm>
    </dsp:sp>
    <dsp:sp modelId="{A79EA514-D2EF-489C-A39C-8E3BDBAED9A6}">
      <dsp:nvSpPr>
        <dsp:cNvPr id="0" name=""/>
        <dsp:cNvSpPr/>
      </dsp:nvSpPr>
      <dsp:spPr>
        <a:xfrm rot="5400000">
          <a:off x="3429848" y="1562408"/>
          <a:ext cx="562945" cy="3493008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Font typeface="Arial" panose="020B0604020202020204" pitchFamily="34" charset="0"/>
            <a:buChar char="•"/>
          </a:pPr>
          <a:r>
            <a:rPr lang="en-IE" sz="1400" kern="1200">
              <a:solidFill>
                <a:schemeClr val="bg2"/>
              </a:solidFill>
            </a:rPr>
            <a:t>Exploring 11 barriers to climate action</a:t>
          </a:r>
          <a:endParaRPr lang="en-IE" sz="1400" kern="1200" dirty="0">
            <a:solidFill>
              <a:schemeClr val="bg2"/>
            </a:solidFill>
          </a:endParaRPr>
        </a:p>
      </dsp:txBody>
      <dsp:txXfrm rot="-5400000">
        <a:off x="1964817" y="3054921"/>
        <a:ext cx="3465527" cy="507983"/>
      </dsp:txXfrm>
    </dsp:sp>
    <dsp:sp modelId="{3896A33D-9C61-4BBF-806C-F7BEF0A6E7DD}">
      <dsp:nvSpPr>
        <dsp:cNvPr id="0" name=""/>
        <dsp:cNvSpPr/>
      </dsp:nvSpPr>
      <dsp:spPr>
        <a:xfrm>
          <a:off x="0" y="2957072"/>
          <a:ext cx="1964817" cy="703681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Font typeface="Arial" panose="020B0604020202020204" pitchFamily="34" charset="0"/>
            <a:buNone/>
          </a:pPr>
          <a:r>
            <a:rPr lang="en-GB" sz="1400" b="1" kern="1200">
              <a:solidFill>
                <a:schemeClr val="bg2"/>
              </a:solidFill>
              <a:cs typeface="Calibri" panose="020F0502020204030204" pitchFamily="34" charset="0"/>
            </a:rPr>
            <a:t>Behavioural Insights Mapping</a:t>
          </a:r>
          <a:endParaRPr lang="en-GB" sz="1400" b="1" kern="1200" dirty="0">
            <a:solidFill>
              <a:schemeClr val="bg2"/>
            </a:solidFill>
            <a:cs typeface="Calibri" panose="020F0502020204030204" pitchFamily="34" charset="0"/>
          </a:endParaRPr>
        </a:p>
      </dsp:txBody>
      <dsp:txXfrm>
        <a:off x="34351" y="2991423"/>
        <a:ext cx="1896115" cy="6349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879609-D6E3-4136-844C-110C9D91F349}">
      <dsp:nvSpPr>
        <dsp:cNvPr id="0" name=""/>
        <dsp:cNvSpPr/>
      </dsp:nvSpPr>
      <dsp:spPr>
        <a:xfrm>
          <a:off x="416" y="496180"/>
          <a:ext cx="2543403" cy="635850"/>
        </a:xfrm>
        <a:prstGeom prst="roundRect">
          <a:avLst>
            <a:gd name="adj" fmla="val 10000"/>
          </a:avLst>
        </a:prstGeom>
        <a:solidFill>
          <a:schemeClr val="accent3">
            <a:lumMod val="5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E" sz="1600" b="1" kern="1200" dirty="0">
              <a:solidFill>
                <a:schemeClr val="bg1"/>
              </a:solidFill>
              <a:latin typeface="+mn-lt"/>
            </a:rPr>
            <a:t>Inputs</a:t>
          </a:r>
          <a:endParaRPr lang="en-IE" sz="1600" kern="1200" dirty="0">
            <a:solidFill>
              <a:schemeClr val="bg1"/>
            </a:solidFill>
            <a:latin typeface="+mn-lt"/>
          </a:endParaRPr>
        </a:p>
      </dsp:txBody>
      <dsp:txXfrm>
        <a:off x="19039" y="514803"/>
        <a:ext cx="2506157" cy="598604"/>
      </dsp:txXfrm>
    </dsp:sp>
    <dsp:sp modelId="{6AC5C738-B3D4-4BD2-9765-9F759D00F860}">
      <dsp:nvSpPr>
        <dsp:cNvPr id="0" name=""/>
        <dsp:cNvSpPr/>
      </dsp:nvSpPr>
      <dsp:spPr>
        <a:xfrm rot="5400000">
          <a:off x="1216481" y="1187668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59F4AA6-FD79-444D-AA83-AB1C4AFA5B69}">
      <dsp:nvSpPr>
        <dsp:cNvPr id="0" name=""/>
        <dsp:cNvSpPr/>
      </dsp:nvSpPr>
      <dsp:spPr>
        <a:xfrm>
          <a:off x="416" y="1354579"/>
          <a:ext cx="2543403" cy="635850"/>
        </a:xfrm>
        <a:prstGeom prst="roundRect">
          <a:avLst>
            <a:gd name="adj" fmla="val 10000"/>
          </a:avLst>
        </a:prstGeom>
        <a:solidFill>
          <a:srgbClr val="9FC536">
            <a:alpha val="90000"/>
            <a:tint val="55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FC536">
              <a:alpha val="90000"/>
              <a:tint val="55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t" anchorCtr="0">
          <a:noAutofit/>
        </a:bodyPr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Climate policy</a:t>
          </a:r>
        </a:p>
      </dsp:txBody>
      <dsp:txXfrm>
        <a:off x="19039" y="1373202"/>
        <a:ext cx="2506157" cy="598604"/>
      </dsp:txXfrm>
    </dsp:sp>
    <dsp:sp modelId="{195ADD44-CC5A-487D-8089-E08B053F20D6}">
      <dsp:nvSpPr>
        <dsp:cNvPr id="0" name=""/>
        <dsp:cNvSpPr/>
      </dsp:nvSpPr>
      <dsp:spPr>
        <a:xfrm rot="5400000">
          <a:off x="1216481" y="2046067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-131037"/>
            <a:satOff val="1523"/>
            <a:lumOff val="606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526ACC0-2B5A-42AA-BEEF-73825923FC13}">
      <dsp:nvSpPr>
        <dsp:cNvPr id="0" name=""/>
        <dsp:cNvSpPr/>
      </dsp:nvSpPr>
      <dsp:spPr>
        <a:xfrm>
          <a:off x="416" y="2212978"/>
          <a:ext cx="2543403" cy="635850"/>
        </a:xfrm>
        <a:prstGeom prst="roundRect">
          <a:avLst>
            <a:gd name="adj" fmla="val 10000"/>
          </a:avLst>
        </a:prstGeom>
        <a:solidFill>
          <a:srgbClr val="9FC536">
            <a:alpha val="90000"/>
            <a:tint val="55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FC536">
              <a:alpha val="90000"/>
              <a:tint val="55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t" anchorCtr="0">
          <a:noAutofit/>
        </a:bodyPr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Insights</a:t>
          </a:r>
        </a:p>
      </dsp:txBody>
      <dsp:txXfrm>
        <a:off x="19039" y="2231601"/>
        <a:ext cx="2506157" cy="598604"/>
      </dsp:txXfrm>
    </dsp:sp>
    <dsp:sp modelId="{79927929-EFF4-4D4F-A6F8-DB1216913B64}">
      <dsp:nvSpPr>
        <dsp:cNvPr id="0" name=""/>
        <dsp:cNvSpPr/>
      </dsp:nvSpPr>
      <dsp:spPr>
        <a:xfrm>
          <a:off x="2899896" y="496180"/>
          <a:ext cx="2543403" cy="63585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E" sz="1600" b="1" kern="1200" dirty="0">
              <a:solidFill>
                <a:schemeClr val="bg1"/>
              </a:solidFill>
              <a:latin typeface="+mn-lt"/>
            </a:rPr>
            <a:t>Activity</a:t>
          </a:r>
        </a:p>
      </dsp:txBody>
      <dsp:txXfrm>
        <a:off x="2918519" y="514803"/>
        <a:ext cx="2506157" cy="598604"/>
      </dsp:txXfrm>
    </dsp:sp>
    <dsp:sp modelId="{60BA5427-89E3-4935-9EBE-E96469672A0A}">
      <dsp:nvSpPr>
        <dsp:cNvPr id="0" name=""/>
        <dsp:cNvSpPr/>
      </dsp:nvSpPr>
      <dsp:spPr>
        <a:xfrm rot="5400000">
          <a:off x="4115960" y="1187668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-262075"/>
            <a:satOff val="3047"/>
            <a:lumOff val="1213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3AAEED8-1990-4403-8F07-58241E181BCA}">
      <dsp:nvSpPr>
        <dsp:cNvPr id="0" name=""/>
        <dsp:cNvSpPr/>
      </dsp:nvSpPr>
      <dsp:spPr>
        <a:xfrm>
          <a:off x="2899896" y="1354579"/>
          <a:ext cx="2543403" cy="63585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Communications</a:t>
          </a:r>
        </a:p>
      </dsp:txBody>
      <dsp:txXfrm>
        <a:off x="2918519" y="1373202"/>
        <a:ext cx="2506157" cy="598604"/>
      </dsp:txXfrm>
    </dsp:sp>
    <dsp:sp modelId="{24EDD66E-EC3C-403E-8E8F-F1FADD3C143C}">
      <dsp:nvSpPr>
        <dsp:cNvPr id="0" name=""/>
        <dsp:cNvSpPr/>
      </dsp:nvSpPr>
      <dsp:spPr>
        <a:xfrm rot="5400000">
          <a:off x="4115960" y="2046067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-393112"/>
            <a:satOff val="4570"/>
            <a:lumOff val="1820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E64EF0C-54B2-423A-8B9C-AFEC3984CF0F}">
      <dsp:nvSpPr>
        <dsp:cNvPr id="0" name=""/>
        <dsp:cNvSpPr/>
      </dsp:nvSpPr>
      <dsp:spPr>
        <a:xfrm>
          <a:off x="2899896" y="2212978"/>
          <a:ext cx="2543403" cy="63585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National events</a:t>
          </a:r>
        </a:p>
      </dsp:txBody>
      <dsp:txXfrm>
        <a:off x="2918519" y="2231601"/>
        <a:ext cx="2506157" cy="598604"/>
      </dsp:txXfrm>
    </dsp:sp>
    <dsp:sp modelId="{88FBEFB6-EBBB-4EBE-86F5-65D80996AE0E}">
      <dsp:nvSpPr>
        <dsp:cNvPr id="0" name=""/>
        <dsp:cNvSpPr/>
      </dsp:nvSpPr>
      <dsp:spPr>
        <a:xfrm rot="5400000">
          <a:off x="4115960" y="2904465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-524149"/>
            <a:satOff val="6094"/>
            <a:lumOff val="2427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96268172-ADA1-4386-BE81-93A3720B820C}">
      <dsp:nvSpPr>
        <dsp:cNvPr id="0" name=""/>
        <dsp:cNvSpPr/>
      </dsp:nvSpPr>
      <dsp:spPr>
        <a:xfrm>
          <a:off x="2899896" y="3071376"/>
          <a:ext cx="2543403" cy="971802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Community activations:</a:t>
          </a: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Place, Interest, Vulnerable Populations </a:t>
          </a:r>
        </a:p>
      </dsp:txBody>
      <dsp:txXfrm>
        <a:off x="2928359" y="3099839"/>
        <a:ext cx="2486477" cy="914876"/>
      </dsp:txXfrm>
    </dsp:sp>
    <dsp:sp modelId="{18D4BBB0-81D6-4E6A-8DB1-9BD50E6DC46E}">
      <dsp:nvSpPr>
        <dsp:cNvPr id="0" name=""/>
        <dsp:cNvSpPr/>
      </dsp:nvSpPr>
      <dsp:spPr>
        <a:xfrm>
          <a:off x="5799375" y="496180"/>
          <a:ext cx="2543403" cy="635850"/>
        </a:xfrm>
        <a:prstGeom prst="roundRect">
          <a:avLst>
            <a:gd name="adj" fmla="val 10000"/>
          </a:avLst>
        </a:prstGeom>
        <a:solidFill>
          <a:srgbClr val="C0000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E" sz="1600" b="1" kern="1200" dirty="0">
              <a:latin typeface="+mn-lt"/>
            </a:rPr>
            <a:t>Outcomes: Policy</a:t>
          </a:r>
        </a:p>
      </dsp:txBody>
      <dsp:txXfrm>
        <a:off x="5817998" y="514803"/>
        <a:ext cx="2506157" cy="598604"/>
      </dsp:txXfrm>
    </dsp:sp>
    <dsp:sp modelId="{FC8124B4-814A-48D7-92D5-CDE4405DB8F9}">
      <dsp:nvSpPr>
        <dsp:cNvPr id="0" name=""/>
        <dsp:cNvSpPr/>
      </dsp:nvSpPr>
      <dsp:spPr>
        <a:xfrm rot="5400000">
          <a:off x="7015440" y="1187668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-655187"/>
            <a:satOff val="7617"/>
            <a:lumOff val="3034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DA82C82-0D72-4190-BD71-6A8D9FEA42CA}">
      <dsp:nvSpPr>
        <dsp:cNvPr id="0" name=""/>
        <dsp:cNvSpPr/>
      </dsp:nvSpPr>
      <dsp:spPr>
        <a:xfrm>
          <a:off x="5799375" y="1354579"/>
          <a:ext cx="2543403" cy="635850"/>
        </a:xfrm>
        <a:prstGeom prst="roundRect">
          <a:avLst>
            <a:gd name="adj" fmla="val 10000"/>
          </a:avLst>
        </a:prstGeom>
        <a:solidFill>
          <a:srgbClr val="9FC536">
            <a:alpha val="90000"/>
            <a:tint val="55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FC536">
              <a:alpha val="90000"/>
              <a:tint val="55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Identify barriers &amp; real-world solutions</a:t>
          </a:r>
        </a:p>
      </dsp:txBody>
      <dsp:txXfrm>
        <a:off x="5817998" y="1373202"/>
        <a:ext cx="2506157" cy="598604"/>
      </dsp:txXfrm>
    </dsp:sp>
    <dsp:sp modelId="{D7AF5667-2176-4EA0-A9A5-49F6575D035C}">
      <dsp:nvSpPr>
        <dsp:cNvPr id="0" name=""/>
        <dsp:cNvSpPr/>
      </dsp:nvSpPr>
      <dsp:spPr>
        <a:xfrm rot="5400000">
          <a:off x="7015440" y="2046067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-786224"/>
            <a:satOff val="9141"/>
            <a:lumOff val="364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0F4EEF6-2ABC-4C4E-B474-ECEDDD8B7605}">
      <dsp:nvSpPr>
        <dsp:cNvPr id="0" name=""/>
        <dsp:cNvSpPr/>
      </dsp:nvSpPr>
      <dsp:spPr>
        <a:xfrm>
          <a:off x="5799375" y="2212978"/>
          <a:ext cx="2543403" cy="635850"/>
        </a:xfrm>
        <a:prstGeom prst="roundRect">
          <a:avLst>
            <a:gd name="adj" fmla="val 10000"/>
          </a:avLst>
        </a:prstGeom>
        <a:solidFill>
          <a:srgbClr val="9FC536">
            <a:alpha val="90000"/>
            <a:tint val="55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FC536">
              <a:alpha val="90000"/>
              <a:tint val="55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t" anchorCtr="0">
          <a:noAutofit/>
        </a:bodyPr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Better policy</a:t>
          </a:r>
        </a:p>
      </dsp:txBody>
      <dsp:txXfrm>
        <a:off x="5817998" y="2231601"/>
        <a:ext cx="2506157" cy="598604"/>
      </dsp:txXfrm>
    </dsp:sp>
    <dsp:sp modelId="{3605C046-23AD-4796-89E1-8D3E37F0B5D9}">
      <dsp:nvSpPr>
        <dsp:cNvPr id="0" name=""/>
        <dsp:cNvSpPr/>
      </dsp:nvSpPr>
      <dsp:spPr>
        <a:xfrm rot="5400000">
          <a:off x="7015440" y="2904465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-655187"/>
            <a:satOff val="7617"/>
            <a:lumOff val="3034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87A74BF-C4FB-47D5-A46B-9E19D5FCAB8F}">
      <dsp:nvSpPr>
        <dsp:cNvPr id="0" name=""/>
        <dsp:cNvSpPr/>
      </dsp:nvSpPr>
      <dsp:spPr>
        <a:xfrm>
          <a:off x="5799375" y="3071376"/>
          <a:ext cx="2543403" cy="635850"/>
        </a:xfrm>
        <a:prstGeom prst="roundRect">
          <a:avLst>
            <a:gd name="adj" fmla="val 10000"/>
          </a:avLst>
        </a:prstGeom>
        <a:solidFill>
          <a:srgbClr val="9FC536">
            <a:alpha val="90000"/>
            <a:tint val="55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FC536">
              <a:alpha val="90000"/>
              <a:tint val="55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t" anchorCtr="0">
          <a:noAutofit/>
        </a:bodyPr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Improved social contract on climate action</a:t>
          </a:r>
        </a:p>
      </dsp:txBody>
      <dsp:txXfrm>
        <a:off x="5817998" y="3089999"/>
        <a:ext cx="2506157" cy="598604"/>
      </dsp:txXfrm>
    </dsp:sp>
    <dsp:sp modelId="{BEAC8023-EC29-4DFD-AAFA-E9B5422E22E9}">
      <dsp:nvSpPr>
        <dsp:cNvPr id="0" name=""/>
        <dsp:cNvSpPr/>
      </dsp:nvSpPr>
      <dsp:spPr>
        <a:xfrm>
          <a:off x="8698855" y="496180"/>
          <a:ext cx="2543403" cy="635850"/>
        </a:xfrm>
        <a:prstGeom prst="roundRect">
          <a:avLst>
            <a:gd name="adj" fmla="val 10000"/>
          </a:avLst>
        </a:prstGeom>
        <a:solidFill>
          <a:srgbClr val="C00000"/>
        </a:solidFill>
        <a:ln w="381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IE" sz="1600" b="1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Outcomes: Communities</a:t>
          </a:r>
        </a:p>
      </dsp:txBody>
      <dsp:txXfrm>
        <a:off x="8717478" y="514803"/>
        <a:ext cx="2506157" cy="598604"/>
      </dsp:txXfrm>
    </dsp:sp>
    <dsp:sp modelId="{2676AB3D-3D6A-45AC-8BB3-E62E53D92B71}">
      <dsp:nvSpPr>
        <dsp:cNvPr id="0" name=""/>
        <dsp:cNvSpPr/>
      </dsp:nvSpPr>
      <dsp:spPr>
        <a:xfrm rot="5400000">
          <a:off x="9914919" y="1187668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-524149"/>
            <a:satOff val="6094"/>
            <a:lumOff val="2427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96F62590-FE1B-466A-AE69-6FA7DC36A348}">
      <dsp:nvSpPr>
        <dsp:cNvPr id="0" name=""/>
        <dsp:cNvSpPr/>
      </dsp:nvSpPr>
      <dsp:spPr>
        <a:xfrm>
          <a:off x="8698855" y="1354579"/>
          <a:ext cx="2543403" cy="1115415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t" anchorCtr="0">
          <a:noAutofit/>
        </a:bodyPr>
        <a:lstStyle/>
        <a:p>
          <a:pPr marL="285750" lvl="1" indent="-285750" algn="ctr" defTabSz="17780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Resources and training: mapping, toolkits, training, funding, supports</a:t>
          </a:r>
        </a:p>
      </dsp:txBody>
      <dsp:txXfrm>
        <a:off x="8731524" y="1387248"/>
        <a:ext cx="2478065" cy="1050077"/>
      </dsp:txXfrm>
    </dsp:sp>
    <dsp:sp modelId="{9662FB41-1BDE-4A70-B1AB-B0BB61CBCFF0}">
      <dsp:nvSpPr>
        <dsp:cNvPr id="0" name=""/>
        <dsp:cNvSpPr/>
      </dsp:nvSpPr>
      <dsp:spPr>
        <a:xfrm rot="5400000">
          <a:off x="9914919" y="2525632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-393112"/>
            <a:satOff val="4570"/>
            <a:lumOff val="1820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E1E9BEC-9A4A-404E-94E4-8BFB169F06BE}">
      <dsp:nvSpPr>
        <dsp:cNvPr id="0" name=""/>
        <dsp:cNvSpPr/>
      </dsp:nvSpPr>
      <dsp:spPr>
        <a:xfrm>
          <a:off x="8698855" y="2692543"/>
          <a:ext cx="2543403" cy="63585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t" anchorCtr="0">
          <a:noAutofit/>
        </a:bodyPr>
        <a:lstStyle/>
        <a:p>
          <a:pPr marL="285750" lvl="1" indent="-285750" algn="ctr" defTabSz="17780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Replicable model</a:t>
          </a:r>
        </a:p>
      </dsp:txBody>
      <dsp:txXfrm>
        <a:off x="8717478" y="2711166"/>
        <a:ext cx="2506157" cy="598604"/>
      </dsp:txXfrm>
    </dsp:sp>
    <dsp:sp modelId="{68C9D74C-1C21-4A31-A41F-D56891F67850}">
      <dsp:nvSpPr>
        <dsp:cNvPr id="0" name=""/>
        <dsp:cNvSpPr/>
      </dsp:nvSpPr>
      <dsp:spPr>
        <a:xfrm rot="5400000">
          <a:off x="9914919" y="3384030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-262075"/>
            <a:satOff val="3047"/>
            <a:lumOff val="1213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448A262-2F56-4D12-84E3-AAA6C3B36634}">
      <dsp:nvSpPr>
        <dsp:cNvPr id="0" name=""/>
        <dsp:cNvSpPr/>
      </dsp:nvSpPr>
      <dsp:spPr>
        <a:xfrm>
          <a:off x="8698855" y="3550941"/>
          <a:ext cx="2543403" cy="63585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t" anchorCtr="0">
          <a:noAutofit/>
        </a:bodyPr>
        <a:lstStyle/>
        <a:p>
          <a:pPr marL="285750" lvl="1" indent="-285750" algn="ctr" defTabSz="17780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More people supported to take climate action</a:t>
          </a:r>
        </a:p>
      </dsp:txBody>
      <dsp:txXfrm>
        <a:off x="8717478" y="3569564"/>
        <a:ext cx="2506157" cy="598604"/>
      </dsp:txXfrm>
    </dsp:sp>
    <dsp:sp modelId="{EBA0CD02-C91C-419F-A9A2-A2F624749C01}">
      <dsp:nvSpPr>
        <dsp:cNvPr id="0" name=""/>
        <dsp:cNvSpPr/>
      </dsp:nvSpPr>
      <dsp:spPr>
        <a:xfrm rot="5400000">
          <a:off x="9914919" y="4242429"/>
          <a:ext cx="111273" cy="111273"/>
        </a:xfrm>
        <a:prstGeom prst="rightArrow">
          <a:avLst>
            <a:gd name="adj1" fmla="val 66700"/>
            <a:gd name="adj2" fmla="val 50000"/>
          </a:avLst>
        </a:prstGeom>
        <a:solidFill>
          <a:schemeClr val="accent3">
            <a:shade val="90000"/>
            <a:hueOff val="-131037"/>
            <a:satOff val="1523"/>
            <a:lumOff val="606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C4D49EE-267F-478A-B8D3-0552513A3481}">
      <dsp:nvSpPr>
        <dsp:cNvPr id="0" name=""/>
        <dsp:cNvSpPr/>
      </dsp:nvSpPr>
      <dsp:spPr>
        <a:xfrm>
          <a:off x="8698855" y="4409340"/>
          <a:ext cx="2543403" cy="63585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55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t" anchorCtr="0">
          <a:noAutofit/>
        </a:bodyPr>
        <a:lstStyle/>
        <a:p>
          <a:pPr marL="285750" lvl="1" indent="-285750" algn="ctr" defTabSz="1778000">
            <a:lnSpc>
              <a:spcPct val="10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IE" sz="1600" kern="1200" spc="0" baseline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Measurable </a:t>
          </a:r>
          <a:r>
            <a:rPr lang="en-IE" sz="1600" kern="1200" spc="0" baseline="0" dirty="0">
              <a:solidFill>
                <a:srgbClr val="006072"/>
              </a:solidFill>
              <a:latin typeface="+mn-lt"/>
              <a:ea typeface="Open Sans"/>
              <a:cs typeface="Calibri" panose="020F0502020204030204" pitchFamily="34" charset="0"/>
            </a:rPr>
            <a:t>change</a:t>
          </a:r>
        </a:p>
      </dsp:txBody>
      <dsp:txXfrm>
        <a:off x="8717478" y="4427963"/>
        <a:ext cx="2506157" cy="5986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6">
            <a:extLst>
              <a:ext uri="{FF2B5EF4-FFF2-40B4-BE49-F238E27FC236}">
                <a16:creationId xmlns:a16="http://schemas.microsoft.com/office/drawing/2014/main" id="{24EDE16D-8876-4EF1-8863-60C2FE4CD79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75905" y="13391868"/>
            <a:ext cx="691087" cy="567190"/>
          </a:xfrm>
          <a:prstGeom prst="rect">
            <a:avLst/>
          </a:prstGeom>
        </p:spPr>
        <p:txBody>
          <a:bodyPr vert="horz" lIns="133036" tIns="66518" rIns="133036" bIns="66518" rtlCol="0" anchor="b"/>
          <a:lstStyle>
            <a:lvl1pPr algn="l">
              <a:defRPr sz="1200" b="1">
                <a:latin typeface="Barlow" panose="020B0604020202020204" pitchFamily="34" charset="0"/>
              </a:defRPr>
            </a:lvl1pPr>
          </a:lstStyle>
          <a:p>
            <a:fld id="{3B8578AD-0529-46A5-84EB-6338160D5A7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C559FD35-2DCE-40AC-B06F-CA1FDB3EE8B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4064" y="13302853"/>
            <a:ext cx="582694" cy="57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508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extLst>
    <p:ext uri="{56416CCD-93CA-4268-BC5B-53C4BB910035}">
      <p15:sldGuideLst xmlns:p15="http://schemas.microsoft.com/office/powerpoint/2012/main">
        <p15:guide id="1" orient="horz" pos="4505" userDrawn="1">
          <p15:clr>
            <a:srgbClr val="F26B43"/>
          </p15:clr>
        </p15:guide>
        <p15:guide id="2" pos="311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-195263" y="239713"/>
            <a:ext cx="10274301" cy="5778500"/>
          </a:xfrm>
          <a:prstGeom prst="rect">
            <a:avLst/>
          </a:prstGeom>
          <a:noFill/>
          <a:ln w="12700">
            <a:solidFill>
              <a:srgbClr val="878787"/>
            </a:solidFill>
          </a:ln>
        </p:spPr>
        <p:txBody>
          <a:bodyPr vert="horz" lIns="133036" tIns="66518" rIns="133036" bIns="66518" rtlCol="0" anchor="ctr"/>
          <a:lstStyle/>
          <a:p>
            <a:endParaRPr lang="en-GB" dirty="0"/>
          </a:p>
        </p:txBody>
      </p:sp>
      <p:sp>
        <p:nvSpPr>
          <p:cNvPr id="6" name="Espace réservé des notes 4">
            <a:extLst>
              <a:ext uri="{FF2B5EF4-FFF2-40B4-BE49-F238E27FC236}">
                <a16:creationId xmlns:a16="http://schemas.microsoft.com/office/drawing/2014/main" id="{D3C969E9-D72B-43D0-96E0-B91161682A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3908" y="6683357"/>
            <a:ext cx="9444848" cy="629551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0" lvl="0" algn="l" defTabSz="1330361" rtl="0" eaLnBrk="1" latinLnBrk="0" hangingPunct="1">
              <a:lnSpc>
                <a:spcPct val="110000"/>
              </a:lnSpc>
              <a:spcBef>
                <a:spcPts val="436"/>
              </a:spcBef>
              <a:spcAft>
                <a:spcPts val="436"/>
              </a:spcAft>
            </a:pPr>
            <a:r>
              <a:rPr lang="en-GB" noProof="0" dirty="0"/>
              <a:t>Click here to add text</a:t>
            </a:r>
          </a:p>
          <a:p>
            <a:pPr marL="249443" lvl="1" indent="-249443" algn="l" defTabSz="1330361" rtl="0" eaLnBrk="1" latinLnBrk="0" hangingPunct="1">
              <a:lnSpc>
                <a:spcPct val="110000"/>
              </a:lnSpc>
              <a:spcBef>
                <a:spcPts val="436"/>
              </a:spcBef>
              <a:spcAft>
                <a:spcPts val="436"/>
              </a:spcAft>
              <a:buFont typeface="Wingdings" panose="05000000000000000000" pitchFamily="2" charset="2"/>
              <a:buChar char=""/>
            </a:pPr>
            <a:r>
              <a:rPr lang="en-GB" noProof="0" dirty="0"/>
              <a:t>First level bullet</a:t>
            </a:r>
          </a:p>
          <a:p>
            <a:pPr marL="519673" lvl="2" indent="-249443" algn="l" defTabSz="1330361" rtl="0" eaLnBrk="1" latinLnBrk="0" hangingPunct="1">
              <a:lnSpc>
                <a:spcPct val="110000"/>
              </a:lnSpc>
              <a:spcBef>
                <a:spcPts val="436"/>
              </a:spcBef>
              <a:spcAft>
                <a:spcPts val="436"/>
              </a:spcAft>
              <a:buFont typeface="Barlow" panose="020B0502040204020203" pitchFamily="34" charset="0"/>
              <a:buChar char="-"/>
            </a:pPr>
            <a:r>
              <a:rPr lang="en-GB" noProof="0" dirty="0"/>
              <a:t>Second level bullet</a:t>
            </a:r>
          </a:p>
          <a:p>
            <a:pPr marL="914623" lvl="3" indent="-265611" algn="l" defTabSz="1330361" rtl="0" eaLnBrk="1" latinLnBrk="0" hangingPunct="1">
              <a:lnSpc>
                <a:spcPct val="110000"/>
              </a:lnSpc>
              <a:spcBef>
                <a:spcPts val="436"/>
              </a:spcBef>
              <a:spcAft>
                <a:spcPts val="436"/>
              </a:spcAft>
              <a:buFont typeface="Barlow" panose="020B0604020202020204" pitchFamily="34" charset="0"/>
              <a:buChar char="•"/>
            </a:pPr>
            <a:r>
              <a:rPr lang="en-GB" noProof="0" dirty="0"/>
              <a:t>Third level bullet</a:t>
            </a:r>
          </a:p>
        </p:txBody>
      </p:sp>
      <p:sp>
        <p:nvSpPr>
          <p:cNvPr id="10" name="Espace réservé du numéro de diapositive 6">
            <a:extLst>
              <a:ext uri="{FF2B5EF4-FFF2-40B4-BE49-F238E27FC236}">
                <a16:creationId xmlns:a16="http://schemas.microsoft.com/office/drawing/2014/main" id="{9CC188B7-201A-41CF-A8C8-B17F56565C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82272" y="13590504"/>
            <a:ext cx="691087" cy="567190"/>
          </a:xfrm>
          <a:prstGeom prst="rect">
            <a:avLst/>
          </a:prstGeom>
        </p:spPr>
        <p:txBody>
          <a:bodyPr vert="horz" lIns="133036" tIns="66518" rIns="133036" bIns="66518" rtlCol="0" anchor="b"/>
          <a:lstStyle>
            <a:lvl1pPr algn="l">
              <a:defRPr sz="1200" b="1">
                <a:latin typeface="Barlow" panose="020B0604020202020204" pitchFamily="34" charset="0"/>
              </a:defRPr>
            </a:lvl1pPr>
          </a:lstStyle>
          <a:p>
            <a:fld id="{3B8578AD-0529-46A5-84EB-6338160D5A7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33000397-2CCA-4747-8472-EE41CDE62C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061" y="13488126"/>
            <a:ext cx="582694" cy="57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942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lang="en-GB" sz="1000" kern="1200" noProof="0" dirty="0" smtClean="0">
        <a:solidFill>
          <a:schemeClr val="tx1"/>
        </a:solidFill>
        <a:latin typeface="Barlow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lang="en-GB" sz="1000" kern="1200" noProof="0" dirty="0" smtClean="0">
        <a:solidFill>
          <a:schemeClr val="tx1"/>
        </a:solidFill>
        <a:latin typeface="Barlow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lang="en-GB" sz="1000" kern="1200" noProof="0" dirty="0" smtClean="0">
        <a:solidFill>
          <a:schemeClr val="tx1"/>
        </a:solidFill>
        <a:latin typeface="Barlow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lang="en-GB" sz="1000" kern="1200" noProof="0" dirty="0">
        <a:solidFill>
          <a:schemeClr val="tx1"/>
        </a:solidFill>
        <a:latin typeface="Barlow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Barlow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9225" y="152400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9358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B05B74-183A-A37E-9C0F-59D5D9B596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5A7A3A-B2B5-20FE-9C6F-8444EF24EF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9225" y="152400"/>
            <a:ext cx="6569075" cy="36957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15A111-8A61-B90B-F175-B0878E49E0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391FC-1585-FB40-CF6D-12A3BE80D3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629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0087BA-3717-A6AA-E5E5-8A9A0F81A5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032D468-2024-3E0D-6F09-837102EF93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49225" y="152400"/>
            <a:ext cx="6569075" cy="36957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A070898-443B-949F-1EAA-D97F9C1539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BD5640-1AD3-1584-B06C-E296A5FEA3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084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95263" y="239713"/>
            <a:ext cx="10274301" cy="5778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32198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95263" y="239713"/>
            <a:ext cx="10274301" cy="5778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74694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350000"/>
            <a:ext cx="5765600" cy="715669"/>
          </a:xfrm>
        </p:spPr>
        <p:txBody>
          <a:bodyPr/>
          <a:lstStyle>
            <a:lvl1pPr>
              <a:defRPr sz="48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7F8163F-D370-5C4C-500A-7D576C590BB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05000" y="0"/>
            <a:ext cx="10300263" cy="6870700"/>
          </a:xfrm>
          <a:custGeom>
            <a:avLst/>
            <a:gdLst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6896100 w 10287001"/>
              <a:gd name="connsiteY3" fmla="*/ 6858000 h 6858000"/>
              <a:gd name="connsiteX4" fmla="*/ 0 w 10287001"/>
              <a:gd name="connsiteY4" fmla="*/ 6858000 h 6858000"/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8636000 w 10287001"/>
              <a:gd name="connsiteY3" fmla="*/ 5080000 h 6858000"/>
              <a:gd name="connsiteX4" fmla="*/ 6896100 w 10287001"/>
              <a:gd name="connsiteY4" fmla="*/ 6858000 h 6858000"/>
              <a:gd name="connsiteX5" fmla="*/ 0 w 10287001"/>
              <a:gd name="connsiteY5" fmla="*/ 6858000 h 6858000"/>
              <a:gd name="connsiteX6" fmla="*/ 6858000 w 10287001"/>
              <a:gd name="connsiteY6" fmla="*/ 0 h 6858000"/>
              <a:gd name="connsiteX0" fmla="*/ 6858000 w 10287001"/>
              <a:gd name="connsiteY0" fmla="*/ 0 h 6870700"/>
              <a:gd name="connsiteX1" fmla="*/ 10287001 w 10287001"/>
              <a:gd name="connsiteY1" fmla="*/ 0 h 6870700"/>
              <a:gd name="connsiteX2" fmla="*/ 10287001 w 10287001"/>
              <a:gd name="connsiteY2" fmla="*/ 3467099 h 6870700"/>
              <a:gd name="connsiteX3" fmla="*/ 10274300 w 10287001"/>
              <a:gd name="connsiteY3" fmla="*/ 6870700 h 6870700"/>
              <a:gd name="connsiteX4" fmla="*/ 6896100 w 10287001"/>
              <a:gd name="connsiteY4" fmla="*/ 6858000 h 6870700"/>
              <a:gd name="connsiteX5" fmla="*/ 0 w 10287001"/>
              <a:gd name="connsiteY5" fmla="*/ 6858000 h 6870700"/>
              <a:gd name="connsiteX6" fmla="*/ 6858000 w 10287001"/>
              <a:gd name="connsiteY6" fmla="*/ 0 h 6870700"/>
              <a:gd name="connsiteX0" fmla="*/ 6858000 w 10300263"/>
              <a:gd name="connsiteY0" fmla="*/ 0 h 6870700"/>
              <a:gd name="connsiteX1" fmla="*/ 10287001 w 10300263"/>
              <a:gd name="connsiteY1" fmla="*/ 0 h 6870700"/>
              <a:gd name="connsiteX2" fmla="*/ 10287001 w 10300263"/>
              <a:gd name="connsiteY2" fmla="*/ 3467099 h 6870700"/>
              <a:gd name="connsiteX3" fmla="*/ 10299700 w 10300263"/>
              <a:gd name="connsiteY3" fmla="*/ 6870700 h 6870700"/>
              <a:gd name="connsiteX4" fmla="*/ 6896100 w 10300263"/>
              <a:gd name="connsiteY4" fmla="*/ 6858000 h 6870700"/>
              <a:gd name="connsiteX5" fmla="*/ 0 w 10300263"/>
              <a:gd name="connsiteY5" fmla="*/ 6858000 h 6870700"/>
              <a:gd name="connsiteX6" fmla="*/ 6858000 w 10300263"/>
              <a:gd name="connsiteY6" fmla="*/ 0 h 687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00263" h="6870700">
                <a:moveTo>
                  <a:pt x="6858000" y="0"/>
                </a:moveTo>
                <a:lnTo>
                  <a:pt x="10287001" y="0"/>
                </a:lnTo>
                <a:lnTo>
                  <a:pt x="10287001" y="3467099"/>
                </a:lnTo>
                <a:cubicBezTo>
                  <a:pt x="10282767" y="4601633"/>
                  <a:pt x="10303934" y="5736166"/>
                  <a:pt x="10299700" y="6870700"/>
                </a:cubicBezTo>
                <a:lnTo>
                  <a:pt x="6896100" y="6858000"/>
                </a:lnTo>
                <a:lnTo>
                  <a:pt x="0" y="6858000"/>
                </a:lnTo>
                <a:lnTo>
                  <a:pt x="6858000" y="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lassification">
            <a:extLst>
              <a:ext uri="{FF2B5EF4-FFF2-40B4-BE49-F238E27FC236}">
                <a16:creationId xmlns:a16="http://schemas.microsoft.com/office/drawing/2014/main" id="{268034F8-D9C2-8C58-D3F0-75FD7B94D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251108"/>
            <a:ext cx="1540262" cy="369332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tx1"/>
                </a:solidFill>
                <a:effectLst/>
              </a:rPr>
              <a:t>MarSoc</a:t>
            </a:r>
            <a:r>
              <a:rPr lang="en-GB" sz="800" dirty="0">
                <a:solidFill>
                  <a:schemeClr val="tx1"/>
                </a:solidFill>
                <a:effectLst/>
              </a:rPr>
              <a:t> Awards Showcase | Jan 2024 | Final | Strictly Confidential</a:t>
            </a: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CCE9AAD8-E91C-C496-B418-A50607DEBA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132000"/>
            <a:ext cx="3851275" cy="1274763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AE68A7-B90D-B728-7D60-401F4ABAF6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3263" y="6183032"/>
            <a:ext cx="1413124" cy="49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779575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nging side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78339B-491C-FFB1-1D03-FBEC566DA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701874"/>
            <a:ext cx="3540125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2FEDE2-F5A1-7181-F7EE-8B93838D0D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2288" y="701675"/>
            <a:ext cx="7416800" cy="4959350"/>
          </a:xfrm>
        </p:spPr>
        <p:txBody>
          <a:bodyPr numCol="1" spcCol="288000"/>
          <a:lstStyle>
            <a:lvl1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1pPr>
            <a:lvl2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2pPr>
            <a:lvl3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3pPr>
            <a:lvl4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4pPr>
            <a:lvl5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0474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x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Header">
            <a:extLst>
              <a:ext uri="{FF2B5EF4-FFF2-40B4-BE49-F238E27FC236}">
                <a16:creationId xmlns:a16="http://schemas.microsoft.com/office/drawing/2014/main" id="{5245E30C-ACBC-4426-8962-C03D3DB3F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ceholder 1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5" name="Placeholder 2">
            <a:extLst>
              <a:ext uri="{FF2B5EF4-FFF2-40B4-BE49-F238E27FC236}">
                <a16:creationId xmlns:a16="http://schemas.microsoft.com/office/drawing/2014/main" id="{FED60B5C-31E2-4ABE-BB94-6CC89A3FD7F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53284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7" name="Placeholder 3">
            <a:extLst>
              <a:ext uri="{FF2B5EF4-FFF2-40B4-BE49-F238E27FC236}">
                <a16:creationId xmlns:a16="http://schemas.microsoft.com/office/drawing/2014/main" id="{F0AC0C8B-24FF-433E-9C4D-B350C449B331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76263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8" name="Placeholder 4">
            <a:extLst>
              <a:ext uri="{FF2B5EF4-FFF2-40B4-BE49-F238E27FC236}">
                <a16:creationId xmlns:a16="http://schemas.microsoft.com/office/drawing/2014/main" id="{2293604D-A39C-4151-970A-A0EBEBFE9FBE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74577" y="1810984"/>
            <a:ext cx="2562696" cy="3850041"/>
          </a:xfr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249003932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gin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9300" y="2286000"/>
            <a:ext cx="5456880" cy="3662363"/>
          </a:xfrm>
        </p:spPr>
        <p:txBody>
          <a:bodyPr numCol="2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E9919A9-E10C-40B2-4E9E-9822C6505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7452" y="701874"/>
            <a:ext cx="5481636" cy="1203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6845480-75B4-4B86-F67E-4E72A366232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5203" y="0"/>
            <a:ext cx="5479313" cy="5948363"/>
          </a:xfrm>
          <a:custGeom>
            <a:avLst/>
            <a:gdLst>
              <a:gd name="connsiteX0" fmla="*/ 0 w 5479313"/>
              <a:gd name="connsiteY0" fmla="*/ 0 h 5948363"/>
              <a:gd name="connsiteX1" fmla="*/ 5479313 w 5479313"/>
              <a:gd name="connsiteY1" fmla="*/ 0 h 5948363"/>
              <a:gd name="connsiteX2" fmla="*/ 5479313 w 5479313"/>
              <a:gd name="connsiteY2" fmla="*/ 5233658 h 5948363"/>
              <a:gd name="connsiteX3" fmla="*/ 4764608 w 5479313"/>
              <a:gd name="connsiteY3" fmla="*/ 5948363 h 5948363"/>
              <a:gd name="connsiteX4" fmla="*/ 0 w 5479313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79313" h="5948363">
                <a:moveTo>
                  <a:pt x="0" y="0"/>
                </a:moveTo>
                <a:lnTo>
                  <a:pt x="5479313" y="0"/>
                </a:lnTo>
                <a:lnTo>
                  <a:pt x="5479313" y="5233658"/>
                </a:lnTo>
                <a:lnTo>
                  <a:pt x="4764608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7260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gin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9D3931C-344A-A16B-9670-84E2DE4A2AE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62687" y="0"/>
            <a:ext cx="5479313" cy="5948363"/>
          </a:xfrm>
          <a:custGeom>
            <a:avLst/>
            <a:gdLst>
              <a:gd name="connsiteX0" fmla="*/ 0 w 5479313"/>
              <a:gd name="connsiteY0" fmla="*/ 0 h 5948363"/>
              <a:gd name="connsiteX1" fmla="*/ 5479313 w 5479313"/>
              <a:gd name="connsiteY1" fmla="*/ 0 h 5948363"/>
              <a:gd name="connsiteX2" fmla="*/ 5479313 w 5479313"/>
              <a:gd name="connsiteY2" fmla="*/ 5233658 h 5948363"/>
              <a:gd name="connsiteX3" fmla="*/ 4764608 w 5479313"/>
              <a:gd name="connsiteY3" fmla="*/ 5948363 h 5948363"/>
              <a:gd name="connsiteX4" fmla="*/ 0 w 5479313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79313" h="5948363">
                <a:moveTo>
                  <a:pt x="0" y="0"/>
                </a:moveTo>
                <a:lnTo>
                  <a:pt x="5479313" y="0"/>
                </a:lnTo>
                <a:lnTo>
                  <a:pt x="5479313" y="5233658"/>
                </a:lnTo>
                <a:lnTo>
                  <a:pt x="4764608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999" y="1792800"/>
            <a:ext cx="5498363" cy="4155563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B6D4E6-07B9-1C8D-69DD-712BC77D3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5498363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8823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ame 1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2913" y="1716405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15" name="Placeholder 1">
            <a:extLst>
              <a:ext uri="{FF2B5EF4-FFF2-40B4-BE49-F238E27FC236}">
                <a16:creationId xmlns:a16="http://schemas.microsoft.com/office/drawing/2014/main" id="{A81DA3D4-EF88-48E1-A722-44D4D0FA10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913" y="4137438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0" name="Name 2">
            <a:extLst>
              <a:ext uri="{FF2B5EF4-FFF2-40B4-BE49-F238E27FC236}">
                <a16:creationId xmlns:a16="http://schemas.microsoft.com/office/drawing/2014/main" id="{71613F17-97E2-4491-9EF3-F01FFDE6E8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89282" y="1716405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21" name="Placeholder 2">
            <a:extLst>
              <a:ext uri="{FF2B5EF4-FFF2-40B4-BE49-F238E27FC236}">
                <a16:creationId xmlns:a16="http://schemas.microsoft.com/office/drawing/2014/main" id="{6F22912B-7D36-4077-8BFB-FDA6B7BA0EA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89282" y="4137438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4" name="Name 3">
            <a:extLst>
              <a:ext uri="{FF2B5EF4-FFF2-40B4-BE49-F238E27FC236}">
                <a16:creationId xmlns:a16="http://schemas.microsoft.com/office/drawing/2014/main" id="{4ACD92D7-D8E5-4F1B-8FF3-A92BC817BD5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35651" y="1716405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25" name="Placeholder 3">
            <a:extLst>
              <a:ext uri="{FF2B5EF4-FFF2-40B4-BE49-F238E27FC236}">
                <a16:creationId xmlns:a16="http://schemas.microsoft.com/office/drawing/2014/main" id="{459EAA34-4CBD-4836-8FB9-E4972A4D470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4491" y="4137438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7" name="Name 4">
            <a:extLst>
              <a:ext uri="{FF2B5EF4-FFF2-40B4-BE49-F238E27FC236}">
                <a16:creationId xmlns:a16="http://schemas.microsoft.com/office/drawing/2014/main" id="{95119930-DF3D-4F95-9821-DD803BEC06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82020" y="1728407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28" name="Placeholder 4">
            <a:extLst>
              <a:ext uri="{FF2B5EF4-FFF2-40B4-BE49-F238E27FC236}">
                <a16:creationId xmlns:a16="http://schemas.microsoft.com/office/drawing/2014/main" id="{F1EC47F3-3364-4097-9549-A48AAC2F521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8930" y="4149440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30" name="Name 5">
            <a:extLst>
              <a:ext uri="{FF2B5EF4-FFF2-40B4-BE49-F238E27FC236}">
                <a16:creationId xmlns:a16="http://schemas.microsoft.com/office/drawing/2014/main" id="{8BC3BB59-8297-4139-8EEB-7AA6A36205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28389" y="1728407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31" name="Placeholder 5">
            <a:extLst>
              <a:ext uri="{FF2B5EF4-FFF2-40B4-BE49-F238E27FC236}">
                <a16:creationId xmlns:a16="http://schemas.microsoft.com/office/drawing/2014/main" id="{3539E75B-AA24-4E49-B21A-8AAB8E62C4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93369" y="4149440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33" name="Name 6">
            <a:extLst>
              <a:ext uri="{FF2B5EF4-FFF2-40B4-BE49-F238E27FC236}">
                <a16:creationId xmlns:a16="http://schemas.microsoft.com/office/drawing/2014/main" id="{3F21806D-0731-464D-A660-3F50C5CAF67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174757" y="1714892"/>
            <a:ext cx="1573660" cy="589072"/>
          </a:xfr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34" name="Placeholder 6">
            <a:extLst>
              <a:ext uri="{FF2B5EF4-FFF2-40B4-BE49-F238E27FC236}">
                <a16:creationId xmlns:a16="http://schemas.microsoft.com/office/drawing/2014/main" id="{E534BACD-3BA5-4149-ABE3-6C66E16EC23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127809" y="4135925"/>
            <a:ext cx="1573660" cy="1615027"/>
          </a:xfr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ADF9F4-0984-90BB-D24E-468E60FF0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Biographies / Team Slid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AACEFD-B915-0A46-F0D5-18898F9C42E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2913" y="242545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0929D50-022D-171B-E0D9-189219148AF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389282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5252DD7-7237-AE6F-A768-127C2A883C8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324491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54F9465-CEA1-9BEA-65BC-07DE517E4AC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258930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C1BCF32-98B4-EADC-44D5-5CEA9370945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193369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9DEB166-4C7E-A020-1149-92ACB95FF7D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0127809" y="24354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sz="1200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9903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/Statement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30C998A-D349-8815-34A9-AB7BB79C3D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6E7F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24DFEA-2014-1751-E480-8A66CDCDA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99" y="1898850"/>
            <a:ext cx="6603801" cy="715669"/>
          </a:xfrm>
        </p:spPr>
        <p:txBody>
          <a:bodyPr/>
          <a:lstStyle>
            <a:lvl1pPr>
              <a:lnSpc>
                <a:spcPct val="100000"/>
              </a:lnSpc>
              <a:defRPr sz="32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Quote or statement here – </a:t>
            </a:r>
            <a:br>
              <a:rPr lang="en-US" dirty="0"/>
            </a:br>
            <a:r>
              <a:rPr lang="en-US" dirty="0"/>
              <a:t>only black text is fully accessible on teal, green or orange</a:t>
            </a:r>
            <a:endParaRPr lang="en-GB" dirty="0"/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A47BBA45-30B2-1AE1-4D29-166B974CDEE5}"/>
              </a:ext>
            </a:extLst>
          </p:cNvPr>
          <p:cNvSpPr/>
          <p:nvPr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5BE389E3-E2EF-EDE2-E4A2-16BA15C4F331}"/>
              </a:ext>
            </a:extLst>
          </p:cNvPr>
          <p:cNvSpPr/>
          <p:nvPr userDrawn="1"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2987A6-2A9A-15B5-784A-8648882BE9C2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6" name="Classification">
            <a:extLst>
              <a:ext uri="{FF2B5EF4-FFF2-40B4-BE49-F238E27FC236}">
                <a16:creationId xmlns:a16="http://schemas.microsoft.com/office/drawing/2014/main" id="{CB155B53-C991-F3E5-6D95-E75CE4A446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FD23A6-9414-F2E3-F4AE-1AB5DB0012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3263" y="6183032"/>
            <a:ext cx="1413124" cy="49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2951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50A770-920A-A9CA-3998-9A7BC6140B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A19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24" y="1092494"/>
            <a:ext cx="5391605" cy="715669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lassification">
            <a:extLst>
              <a:ext uri="{FF2B5EF4-FFF2-40B4-BE49-F238E27FC236}">
                <a16:creationId xmlns:a16="http://schemas.microsoft.com/office/drawing/2014/main" id="{A2DBDE31-A0D1-C0E0-CFCE-D83929DAC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251108"/>
            <a:ext cx="1695772" cy="369332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C8B51E2-FAFB-6EB4-638C-72A28E67F8E1}"/>
              </a:ext>
            </a:extLst>
          </p:cNvPr>
          <p:cNvSpPr/>
          <p:nvPr/>
        </p:nvSpPr>
        <p:spPr>
          <a:xfrm rot="16200000">
            <a:off x="3619500" y="-1714500"/>
            <a:ext cx="6858000" cy="10287000"/>
          </a:xfrm>
          <a:custGeom>
            <a:avLst/>
            <a:gdLst>
              <a:gd name="connsiteX0" fmla="*/ 6858000 w 6858000"/>
              <a:gd name="connsiteY0" fmla="*/ 6858000 h 10287000"/>
              <a:gd name="connsiteX1" fmla="*/ 6858000 w 6858000"/>
              <a:gd name="connsiteY1" fmla="*/ 10287000 h 10287000"/>
              <a:gd name="connsiteX2" fmla="*/ 3370139 w 6858000"/>
              <a:gd name="connsiteY2" fmla="*/ 10287000 h 10287000"/>
              <a:gd name="connsiteX3" fmla="*/ 0 w 6858000"/>
              <a:gd name="connsiteY3" fmla="*/ 6916861 h 10287000"/>
              <a:gd name="connsiteX4" fmla="*/ 0 w 6858000"/>
              <a:gd name="connsiteY4" fmla="*/ 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0" h="10287000">
                <a:moveTo>
                  <a:pt x="6858000" y="6858000"/>
                </a:moveTo>
                <a:lnTo>
                  <a:pt x="6858000" y="10287000"/>
                </a:lnTo>
                <a:lnTo>
                  <a:pt x="3370139" y="10287000"/>
                </a:lnTo>
                <a:lnTo>
                  <a:pt x="0" y="691686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D0EB7A7D-8D5E-F9FC-C8D3-285DE34876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494989"/>
            <a:ext cx="3551238" cy="1274763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D9F6842-DC6A-38D0-9815-9F77EC5535C5}"/>
              </a:ext>
            </a:extLst>
          </p:cNvPr>
          <p:cNvSpPr/>
          <p:nvPr userDrawn="1"/>
        </p:nvSpPr>
        <p:spPr>
          <a:xfrm rot="16200000">
            <a:off x="3619500" y="-1714500"/>
            <a:ext cx="6858000" cy="10287000"/>
          </a:xfrm>
          <a:custGeom>
            <a:avLst/>
            <a:gdLst>
              <a:gd name="connsiteX0" fmla="*/ 6858000 w 6858000"/>
              <a:gd name="connsiteY0" fmla="*/ 6858000 h 10287000"/>
              <a:gd name="connsiteX1" fmla="*/ 6858000 w 6858000"/>
              <a:gd name="connsiteY1" fmla="*/ 10287000 h 10287000"/>
              <a:gd name="connsiteX2" fmla="*/ 3370139 w 6858000"/>
              <a:gd name="connsiteY2" fmla="*/ 10287000 h 10287000"/>
              <a:gd name="connsiteX3" fmla="*/ 0 w 6858000"/>
              <a:gd name="connsiteY3" fmla="*/ 6916861 h 10287000"/>
              <a:gd name="connsiteX4" fmla="*/ 0 w 6858000"/>
              <a:gd name="connsiteY4" fmla="*/ 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0" h="10287000">
                <a:moveTo>
                  <a:pt x="6858000" y="6858000"/>
                </a:moveTo>
                <a:lnTo>
                  <a:pt x="6858000" y="10287000"/>
                </a:lnTo>
                <a:lnTo>
                  <a:pt x="3370139" y="10287000"/>
                </a:lnTo>
                <a:lnTo>
                  <a:pt x="0" y="691686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1DE81F55-4171-A01D-AA0C-FC4DC584EE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7784" y="6174039"/>
            <a:ext cx="938214" cy="4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34367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BFBDEA92-538F-3B81-D73E-A3E28F80C016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0" y="0"/>
            <a:ext cx="12192000" cy="6858000"/>
          </a:xfr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GB" dirty="0"/>
              <a:t>Full bleed video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EA063B5A-9E34-AA8B-004A-C0F3DD1EC3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7784" y="6174039"/>
            <a:ext cx="938214" cy="4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5896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or 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8B69072-8F91-57EB-1C5E-B1807F8440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733800 h 6858000"/>
              <a:gd name="connsiteX3" fmla="*/ 9067800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733800"/>
                </a:lnTo>
                <a:lnTo>
                  <a:pt x="9067800" y="6858000"/>
                </a:lnTo>
                <a:lnTo>
                  <a:pt x="0" y="68580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GB" dirty="0"/>
              <a:t>Click icon in centre to add image</a:t>
            </a:r>
            <a:br>
              <a:rPr lang="en-GB" dirty="0"/>
            </a:br>
            <a:r>
              <a:rPr lang="en-GB" dirty="0"/>
              <a:t>Send image to back so elements show on the page</a:t>
            </a:r>
          </a:p>
          <a:p>
            <a:pPr lvl="0" algn="ctr"/>
            <a:endParaRPr lang="en-GB" dirty="0"/>
          </a:p>
          <a:p>
            <a:pPr lvl="0" algn="ctr"/>
            <a:endParaRPr lang="en-GB" dirty="0"/>
          </a:p>
          <a:p>
            <a:pPr lvl="0" algn="ctr"/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50000" y="811950"/>
            <a:ext cx="5407103" cy="3742438"/>
          </a:xfrm>
        </p:spPr>
        <p:txBody>
          <a:bodyPr anchor="t"/>
          <a:lstStyle>
            <a:lvl1pPr>
              <a:defRPr sz="36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Summary text background image (text can be recoloured depending on image colour)</a:t>
            </a:r>
            <a:endParaRPr lang="fr-FR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C499F6-7EE8-4E2B-DD06-D712EAFB7E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3263" y="6183032"/>
            <a:ext cx="1413124" cy="49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68208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/Statement Sty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er">
            <a:extLst>
              <a:ext uri="{FF2B5EF4-FFF2-40B4-BE49-F238E27FC236}">
                <a16:creationId xmlns:a16="http://schemas.microsoft.com/office/drawing/2014/main" id="{6953A8D2-20EB-4DFB-893E-8DCA6475D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39450" y="-775597"/>
            <a:ext cx="9341700" cy="7755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– KEEP HERE FOR ACCESSIBILITY</a:t>
            </a:r>
            <a:endParaRPr lang="en-GB" dirty="0"/>
          </a:p>
        </p:txBody>
      </p:sp>
      <p:sp>
        <p:nvSpPr>
          <p:cNvPr id="21" name="Quote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900" y="2110704"/>
            <a:ext cx="8181699" cy="2636591"/>
          </a:xfrm>
        </p:spPr>
        <p:txBody>
          <a:bodyPr anchor="t">
            <a:normAutofit/>
          </a:bodyPr>
          <a:lstStyle>
            <a:lvl1pPr marL="0" indent="0">
              <a:buNone/>
              <a:defRPr sz="3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" name="Right Triangle 1">
            <a:extLst>
              <a:ext uri="{FF2B5EF4-FFF2-40B4-BE49-F238E27FC236}">
                <a16:creationId xmlns:a16="http://schemas.microsoft.com/office/drawing/2014/main" id="{CB9AD269-0E94-5F57-BE08-5E10A41EC965}"/>
              </a:ext>
            </a:extLst>
          </p:cNvPr>
          <p:cNvSpPr/>
          <p:nvPr/>
        </p:nvSpPr>
        <p:spPr>
          <a:xfrm rot="5400000">
            <a:off x="-39450" y="0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44A53C-A760-B980-C1BA-3D631697281C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2" name="Classification">
            <a:extLst>
              <a:ext uri="{FF2B5EF4-FFF2-40B4-BE49-F238E27FC236}">
                <a16:creationId xmlns:a16="http://schemas.microsoft.com/office/drawing/2014/main" id="{467DB697-633F-AE80-3288-0093F641E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AD1135DF-99C2-8442-95A0-2BE142A567EA}"/>
              </a:ext>
            </a:extLst>
          </p:cNvPr>
          <p:cNvSpPr/>
          <p:nvPr userDrawn="1"/>
        </p:nvSpPr>
        <p:spPr>
          <a:xfrm rot="5400000">
            <a:off x="-39450" y="0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3" name="Picture 2" descr="A blue and black logo&#10;&#10;Description automatically generated">
            <a:extLst>
              <a:ext uri="{FF2B5EF4-FFF2-40B4-BE49-F238E27FC236}">
                <a16:creationId xmlns:a16="http://schemas.microsoft.com/office/drawing/2014/main" id="{B991B016-F07C-1F50-75A6-0A322F3147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7784" y="6174039"/>
            <a:ext cx="938214" cy="4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622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00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TYL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5391605" cy="1549106"/>
          </a:xfrm>
        </p:spPr>
        <p:txBody>
          <a:bodyPr/>
          <a:lstStyle>
            <a:lvl1pPr>
              <a:defRPr sz="4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7F8163F-D370-5C4C-500A-7D576C590B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05000" y="0"/>
            <a:ext cx="10287001" cy="6858000"/>
          </a:xfrm>
          <a:custGeom>
            <a:avLst/>
            <a:gdLst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6896100 w 10287001"/>
              <a:gd name="connsiteY3" fmla="*/ 6858000 h 6858000"/>
              <a:gd name="connsiteX4" fmla="*/ 0 w 1028700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87001" h="6858000">
                <a:moveTo>
                  <a:pt x="6858000" y="0"/>
                </a:moveTo>
                <a:lnTo>
                  <a:pt x="10287001" y="0"/>
                </a:lnTo>
                <a:lnTo>
                  <a:pt x="10287001" y="3467099"/>
                </a:lnTo>
                <a:lnTo>
                  <a:pt x="6896100" y="6858000"/>
                </a:lnTo>
                <a:lnTo>
                  <a:pt x="0" y="6858000"/>
                </a:lnTo>
                <a:close/>
              </a:path>
            </a:pathLst>
          </a:custGeom>
          <a:pattFill prst="dk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Classification">
            <a:extLst>
              <a:ext uri="{FF2B5EF4-FFF2-40B4-BE49-F238E27FC236}">
                <a16:creationId xmlns:a16="http://schemas.microsoft.com/office/drawing/2014/main" id="{A2DBDE31-A0D1-C0E0-CFCE-D83929DAC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251108"/>
            <a:ext cx="1695772" cy="369332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433BB7AA-54DD-4BAB-0FD5-D287A85CE4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132000"/>
            <a:ext cx="4038600" cy="12747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6B6DF56B-1E20-051F-9439-AF21E6826A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7784" y="6174039"/>
            <a:ext cx="938214" cy="4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50891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/Statement sty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er">
            <a:extLst>
              <a:ext uri="{FF2B5EF4-FFF2-40B4-BE49-F238E27FC236}">
                <a16:creationId xmlns:a16="http://schemas.microsoft.com/office/drawing/2014/main" id="{6953A8D2-20EB-4DFB-893E-8DCA6475D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39450" y="-775597"/>
            <a:ext cx="9341700" cy="7755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– KEEP HERE FOR ACCESSIBILITY</a:t>
            </a:r>
            <a:endParaRPr lang="en-GB" dirty="0"/>
          </a:p>
        </p:txBody>
      </p:sp>
      <p:sp>
        <p:nvSpPr>
          <p:cNvPr id="21" name="Quote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33900" y="2110704"/>
            <a:ext cx="8181699" cy="2636591"/>
          </a:xfrm>
        </p:spPr>
        <p:txBody>
          <a:bodyPr anchor="t"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" name="Right Triangle 1">
            <a:extLst>
              <a:ext uri="{FF2B5EF4-FFF2-40B4-BE49-F238E27FC236}">
                <a16:creationId xmlns:a16="http://schemas.microsoft.com/office/drawing/2014/main" id="{CB9AD269-0E94-5F57-BE08-5E10A41EC965}"/>
              </a:ext>
            </a:extLst>
          </p:cNvPr>
          <p:cNvSpPr/>
          <p:nvPr userDrawn="1"/>
        </p:nvSpPr>
        <p:spPr>
          <a:xfrm rot="16200000">
            <a:off x="9067800" y="3733799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44A53C-A760-B980-C1BA-3D631697281C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2" name="Classification">
            <a:extLst>
              <a:ext uri="{FF2B5EF4-FFF2-40B4-BE49-F238E27FC236}">
                <a16:creationId xmlns:a16="http://schemas.microsoft.com/office/drawing/2014/main" id="{467DB697-633F-AE80-3288-0093F641E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07B1A339-6C75-07F1-9C25-457A1585ABE5}"/>
              </a:ext>
            </a:extLst>
          </p:cNvPr>
          <p:cNvSpPr/>
          <p:nvPr userDrawn="1"/>
        </p:nvSpPr>
        <p:spPr>
          <a:xfrm rot="16200000">
            <a:off x="9067800" y="3748313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8FBC07-CF5F-AD3C-0582-7B30EC5684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3263" y="6183032"/>
            <a:ext cx="1413124" cy="49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034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00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key poin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55C23FA-A39C-47E2-B32E-D31B7F81F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3 key points layout</a:t>
            </a:r>
            <a:endParaRPr lang="en-GB" dirty="0"/>
          </a:p>
        </p:txBody>
      </p:sp>
      <p:sp>
        <p:nvSpPr>
          <p:cNvPr id="23" name="No. 1">
            <a:extLst>
              <a:ext uri="{FF2B5EF4-FFF2-40B4-BE49-F238E27FC236}">
                <a16:creationId xmlns:a16="http://schemas.microsoft.com/office/drawing/2014/main" id="{8933E780-68DF-AEFF-FB64-64A8AC3BC8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4599" y="1701571"/>
            <a:ext cx="1219200" cy="1045259"/>
          </a:xfrm>
        </p:spPr>
        <p:txBody>
          <a:bodyPr/>
          <a:lstStyle>
            <a:lvl1pPr>
              <a:defRPr sz="9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F07BEC-475C-D95A-2313-6FF423D6911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9999" y="3067958"/>
            <a:ext cx="3528000" cy="2583996"/>
          </a:xfrm>
          <a:prstGeom prst="rect">
            <a:avLst/>
          </a:prstGeom>
          <a:noFill/>
        </p:spPr>
        <p:txBody>
          <a:bodyPr wrap="square" lIns="72000" tIns="72000" rIns="72000" bIns="7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No. 2">
            <a:extLst>
              <a:ext uri="{FF2B5EF4-FFF2-40B4-BE49-F238E27FC236}">
                <a16:creationId xmlns:a16="http://schemas.microsoft.com/office/drawing/2014/main" id="{30E98F8F-3061-8682-1A3F-E78E0C8D3F9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98690" y="1701571"/>
            <a:ext cx="1219200" cy="1045259"/>
          </a:xfrm>
        </p:spPr>
        <p:txBody>
          <a:bodyPr/>
          <a:lstStyle>
            <a:lvl1pPr>
              <a:defRPr sz="9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12F4A0-FD3C-1B4E-7C0D-A6CD56FB0F3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32287" y="3067958"/>
            <a:ext cx="3528000" cy="2583996"/>
          </a:xfrm>
          <a:prstGeom prst="rect">
            <a:avLst/>
          </a:prstGeom>
          <a:noFill/>
        </p:spPr>
        <p:txBody>
          <a:bodyPr wrap="square" lIns="72000" tIns="72000" rIns="72000" bIns="7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No. 3">
            <a:extLst>
              <a:ext uri="{FF2B5EF4-FFF2-40B4-BE49-F238E27FC236}">
                <a16:creationId xmlns:a16="http://schemas.microsoft.com/office/drawing/2014/main" id="{60835E92-0DA1-DBA3-87F3-D6CA2B63B03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62924" y="1701571"/>
            <a:ext cx="1219200" cy="1045259"/>
          </a:xfrm>
        </p:spPr>
        <p:txBody>
          <a:bodyPr/>
          <a:lstStyle>
            <a:lvl1pPr>
              <a:defRPr sz="9600" b="1">
                <a:solidFill>
                  <a:srgbClr val="E3D8F0"/>
                </a:solidFill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F5EC94-06CC-02DF-99F1-D843B6EC5EE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20073" y="3067958"/>
            <a:ext cx="3528000" cy="2583996"/>
          </a:xfrm>
          <a:prstGeom prst="rect">
            <a:avLst/>
          </a:prstGeom>
          <a:noFill/>
        </p:spPr>
        <p:txBody>
          <a:bodyPr wrap="square" lIns="72000" tIns="72000" rIns="72000" bIns="7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94FC2C-B470-E22E-D383-B44D7B951CD9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4" name="Classification">
            <a:extLst>
              <a:ext uri="{FF2B5EF4-FFF2-40B4-BE49-F238E27FC236}">
                <a16:creationId xmlns:a16="http://schemas.microsoft.com/office/drawing/2014/main" id="{67B23A15-646C-F76F-AD69-AE049FD500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3D868E9-53A7-F2E2-9BF1-3B84C71A00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7692" y="6088589"/>
            <a:ext cx="1704266" cy="68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963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x 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Header">
            <a:extLst>
              <a:ext uri="{FF2B5EF4-FFF2-40B4-BE49-F238E27FC236}">
                <a16:creationId xmlns:a16="http://schemas.microsoft.com/office/drawing/2014/main" id="{B80FCDC1-4ADD-40AF-8A4F-44573B125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ceholder 1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5456880" cy="3861312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0" name="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3992" y="1808163"/>
            <a:ext cx="5456880" cy="3861312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83761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2249714"/>
            <a:ext cx="3527425" cy="36986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E15FE5BE-74FF-2205-1A8F-C1AA45D1D84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32288" y="0"/>
            <a:ext cx="7410450" cy="5948363"/>
          </a:xfrm>
          <a:custGeom>
            <a:avLst/>
            <a:gdLst>
              <a:gd name="connsiteX0" fmla="*/ 0 w 7410450"/>
              <a:gd name="connsiteY0" fmla="*/ 0 h 5948363"/>
              <a:gd name="connsiteX1" fmla="*/ 7410450 w 7410450"/>
              <a:gd name="connsiteY1" fmla="*/ 0 h 5948363"/>
              <a:gd name="connsiteX2" fmla="*/ 7410450 w 7410450"/>
              <a:gd name="connsiteY2" fmla="*/ 4975605 h 5948363"/>
              <a:gd name="connsiteX3" fmla="*/ 6437692 w 7410450"/>
              <a:gd name="connsiteY3" fmla="*/ 5948363 h 5948363"/>
              <a:gd name="connsiteX4" fmla="*/ 0 w 7410450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10450" h="5948363">
                <a:moveTo>
                  <a:pt x="0" y="0"/>
                </a:moveTo>
                <a:lnTo>
                  <a:pt x="7410450" y="0"/>
                </a:lnTo>
                <a:lnTo>
                  <a:pt x="7410450" y="4975605"/>
                </a:lnTo>
                <a:lnTo>
                  <a:pt x="6437692" y="5948363"/>
                </a:lnTo>
                <a:lnTo>
                  <a:pt x="0" y="5948363"/>
                </a:lnTo>
                <a:close/>
              </a:path>
            </a:pathLst>
          </a:custGeom>
          <a:pattFill prst="wdDn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b="1"/>
            </a:lvl1pPr>
          </a:lstStyle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Click icon to </a:t>
            </a:r>
            <a:br>
              <a:rPr lang="en-GB" dirty="0"/>
            </a:br>
            <a:r>
              <a:rPr lang="en-GB" dirty="0"/>
              <a:t>insert imag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EFA78C8-BF85-C18D-67D3-7D18DF4C9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3520338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1964614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_imag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er">
            <a:extLst>
              <a:ext uri="{FF2B5EF4-FFF2-40B4-BE49-F238E27FC236}">
                <a16:creationId xmlns:a16="http://schemas.microsoft.com/office/drawing/2014/main" id="{88DD43FA-3336-4415-A3A6-54EA3C9BB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4232" y="450000"/>
            <a:ext cx="3526688" cy="1116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Box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3183" y="2293257"/>
            <a:ext cx="3526689" cy="3655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01481FF-ECD9-985C-6949-42B804BF01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61476" y="0"/>
            <a:ext cx="7398237" cy="5948363"/>
          </a:xfrm>
          <a:custGeom>
            <a:avLst/>
            <a:gdLst>
              <a:gd name="connsiteX0" fmla="*/ 0 w 7398237"/>
              <a:gd name="connsiteY0" fmla="*/ 0 h 5948363"/>
              <a:gd name="connsiteX1" fmla="*/ 7398237 w 7398237"/>
              <a:gd name="connsiteY1" fmla="*/ 0 h 5948363"/>
              <a:gd name="connsiteX2" fmla="*/ 7398237 w 7398237"/>
              <a:gd name="connsiteY2" fmla="*/ 4958167 h 5948363"/>
              <a:gd name="connsiteX3" fmla="*/ 6408041 w 7398237"/>
              <a:gd name="connsiteY3" fmla="*/ 5948363 h 5948363"/>
              <a:gd name="connsiteX4" fmla="*/ 0 w 7398237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98237" h="5948363">
                <a:moveTo>
                  <a:pt x="0" y="0"/>
                </a:moveTo>
                <a:lnTo>
                  <a:pt x="7398237" y="0"/>
                </a:lnTo>
                <a:lnTo>
                  <a:pt x="7398237" y="4958167"/>
                </a:lnTo>
                <a:lnTo>
                  <a:pt x="6408041" y="5948363"/>
                </a:lnTo>
                <a:lnTo>
                  <a:pt x="0" y="5948363"/>
                </a:lnTo>
                <a:close/>
              </a:path>
            </a:pathLst>
          </a:custGeom>
          <a:pattFill prst="wdDn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b="1"/>
            </a:lvl1pPr>
          </a:lstStyle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Click icon to </a:t>
            </a:r>
            <a:br>
              <a:rPr lang="en-GB" dirty="0"/>
            </a:br>
            <a:r>
              <a:rPr lang="en-GB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47312511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diagram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3149600"/>
            <a:ext cx="3527425" cy="27987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hart / Diagram">
            <a:extLst>
              <a:ext uri="{FF2B5EF4-FFF2-40B4-BE49-F238E27FC236}">
                <a16:creationId xmlns:a16="http://schemas.microsoft.com/office/drawing/2014/main" id="{F20073CF-87BF-427F-936A-47B5E1B160C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83075" y="692150"/>
            <a:ext cx="7466013" cy="525621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rea for diagram/chart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1C028A4-1CB4-EB71-790E-1C2A8CEDA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3520338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7548909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5A52833-39E6-9C79-CAB3-DC23900DC7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0724" y="0"/>
            <a:ext cx="10205810" cy="6858000"/>
          </a:xfrm>
          <a:custGeom>
            <a:avLst/>
            <a:gdLst>
              <a:gd name="connsiteX0" fmla="*/ 6858000 w 10205810"/>
              <a:gd name="connsiteY0" fmla="*/ 0 h 6858000"/>
              <a:gd name="connsiteX1" fmla="*/ 10205810 w 10205810"/>
              <a:gd name="connsiteY1" fmla="*/ 0 h 6858000"/>
              <a:gd name="connsiteX2" fmla="*/ 10205810 w 10205810"/>
              <a:gd name="connsiteY2" fmla="*/ 6858000 h 6858000"/>
              <a:gd name="connsiteX3" fmla="*/ 0 w 1020581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05810" h="6858000">
                <a:moveTo>
                  <a:pt x="6858000" y="0"/>
                </a:moveTo>
                <a:lnTo>
                  <a:pt x="10205810" y="0"/>
                </a:lnTo>
                <a:lnTo>
                  <a:pt x="1020581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bIns="2880000" anchor="b">
            <a:noAutofit/>
          </a:bodyPr>
          <a:lstStyle>
            <a:lvl1pPr algn="ctr">
              <a:defRPr sz="1600" b="1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8B1008-691B-2905-EF01-F1E5DA88F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6255600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lassification">
            <a:extLst>
              <a:ext uri="{FF2B5EF4-FFF2-40B4-BE49-F238E27FC236}">
                <a16:creationId xmlns:a16="http://schemas.microsoft.com/office/drawing/2014/main" id="{ECD6FAED-FE49-D7A6-F947-84218F633A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251108"/>
            <a:ext cx="1540262" cy="369332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tx1"/>
                </a:solidFill>
                <a:effectLst/>
              </a:rPr>
              <a:t>MarSoc</a:t>
            </a:r>
            <a:r>
              <a:rPr lang="en-GB" sz="800" dirty="0">
                <a:solidFill>
                  <a:schemeClr val="tx1"/>
                </a:solidFill>
                <a:effectLst/>
              </a:rPr>
              <a:t> Awards Showcase | Jan 2024 | Final | Strictly Confidential</a:t>
            </a:r>
          </a:p>
        </p:txBody>
      </p:sp>
      <p:pic>
        <p:nvPicPr>
          <p:cNvPr id="5" name="Picture 4" descr="A blue and black logo&#10;&#10;Description automatically generated">
            <a:extLst>
              <a:ext uri="{FF2B5EF4-FFF2-40B4-BE49-F238E27FC236}">
                <a16:creationId xmlns:a16="http://schemas.microsoft.com/office/drawing/2014/main" id="{3FA32956-5886-9790-6D76-387A587B70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7784" y="6174039"/>
            <a:ext cx="938214" cy="4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0962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 half hanging box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D3D8EE6-A539-C0F7-857D-88B6300E20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6253799 w 12192000"/>
              <a:gd name="connsiteY1" fmla="*/ 0 h 6858000"/>
              <a:gd name="connsiteX2" fmla="*/ 6253799 w 12192000"/>
              <a:gd name="connsiteY2" fmla="*/ 5948363 h 6858000"/>
              <a:gd name="connsiteX3" fmla="*/ 11065173 w 12192000"/>
              <a:gd name="connsiteY3" fmla="*/ 5948363 h 6858000"/>
              <a:gd name="connsiteX4" fmla="*/ 11752162 w 12192000"/>
              <a:gd name="connsiteY4" fmla="*/ 5258704 h 6858000"/>
              <a:gd name="connsiteX5" fmla="*/ 11752162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6253799" y="0"/>
                </a:lnTo>
                <a:lnTo>
                  <a:pt x="6253799" y="5948363"/>
                </a:lnTo>
                <a:lnTo>
                  <a:pt x="11065173" y="5948363"/>
                </a:lnTo>
                <a:lnTo>
                  <a:pt x="11752162" y="5258704"/>
                </a:lnTo>
                <a:lnTo>
                  <a:pt x="11752162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619" y="2301240"/>
            <a:ext cx="5498363" cy="3359785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1609AF-5375-B754-F2E7-A839AEF1C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5498363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7EAB2A13-67C3-783B-7F56-3F01CED2C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7784" y="6174039"/>
            <a:ext cx="938214" cy="4464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DA55D4F-2361-C8D3-05B5-D499CDC915B1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/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/>
          </a:p>
        </p:txBody>
      </p:sp>
      <p:sp>
        <p:nvSpPr>
          <p:cNvPr id="7" name="Classification">
            <a:extLst>
              <a:ext uri="{FF2B5EF4-FFF2-40B4-BE49-F238E27FC236}">
                <a16:creationId xmlns:a16="http://schemas.microsoft.com/office/drawing/2014/main" id="{353C8273-7DE9-5229-561D-28ED6539C9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tx1"/>
                </a:solidFill>
                <a:effectLst/>
              </a:rPr>
              <a:t>MarSoc</a:t>
            </a:r>
            <a:r>
              <a:rPr lang="en-GB" sz="800" dirty="0">
                <a:solidFill>
                  <a:schemeClr val="tx1"/>
                </a:solidFill>
                <a:effectLst/>
              </a:rPr>
              <a:t> Awards Showcase | Jan 2024 | Final | 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60710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&amp; Subtitle - Green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E8CE0AD-0D27-65F8-353D-97DE15EE10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557" y="537042"/>
            <a:ext cx="3828256" cy="1544171"/>
          </a:xfrm>
          <a:prstGeom prst="rect">
            <a:avLst/>
          </a:prstGeom>
        </p:spPr>
      </p:pic>
      <p:sp>
        <p:nvSpPr>
          <p:cNvPr id="13" name="Title Text"/>
          <p:cNvSpPr txBox="1">
            <a:spLocks noGrp="1"/>
          </p:cNvSpPr>
          <p:nvPr>
            <p:ph type="title"/>
          </p:nvPr>
        </p:nvSpPr>
        <p:spPr>
          <a:xfrm>
            <a:off x="1854485" y="1907006"/>
            <a:ext cx="9448515" cy="2619571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defRPr sz="8000" b="0" i="0" cap="none" spc="-136">
                <a:solidFill>
                  <a:srgbClr val="FFFFFF"/>
                </a:solidFill>
                <a:latin typeface="+mn-lt"/>
                <a:ea typeface="Calibri Light" charset="0"/>
                <a:cs typeface="Calibri Light" charset="0"/>
                <a:sym typeface="Open Sans Ligh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1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854485" y="4741162"/>
            <a:ext cx="9448515" cy="1503400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buClr>
                <a:srgbClr val="A39161"/>
              </a:buClr>
              <a:defRPr sz="1600" b="0" i="0" spc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1pPr>
            <a:lvl2pPr indent="0" algn="l">
              <a:lnSpc>
                <a:spcPct val="120000"/>
              </a:lnSpc>
              <a:buClr>
                <a:srgbClr val="A39161"/>
              </a:buClr>
              <a:defRPr sz="1600" b="0" spc="0">
                <a:solidFill>
                  <a:schemeClr val="bg1"/>
                </a:solidFill>
                <a:latin typeface="+mn-lt"/>
                <a:ea typeface="Calibri" charset="0"/>
                <a:cs typeface="Calibri" charset="0"/>
                <a:sym typeface="Georgia"/>
              </a:defRPr>
            </a:lvl2pPr>
            <a:lvl3pPr algn="l">
              <a:lnSpc>
                <a:spcPct val="120000"/>
              </a:lnSpc>
              <a:buClr>
                <a:srgbClr val="A39161"/>
              </a:buClr>
              <a:defRPr sz="1200" b="0" i="1" spc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3pPr>
            <a:lvl4pPr algn="l">
              <a:lnSpc>
                <a:spcPct val="120000"/>
              </a:lnSpc>
              <a:buClr>
                <a:srgbClr val="A39161"/>
              </a:buClr>
              <a:defRPr sz="1200" spc="0">
                <a:solidFill>
                  <a:schemeClr val="bg1"/>
                </a:solidFill>
                <a:latin typeface="+mn-lt"/>
                <a:ea typeface="Georgia"/>
                <a:cs typeface="Georgia"/>
                <a:sym typeface="Georgia"/>
              </a:defRPr>
            </a:lvl4pPr>
            <a:lvl5pPr algn="l">
              <a:lnSpc>
                <a:spcPct val="120000"/>
              </a:lnSpc>
              <a:buClr>
                <a:srgbClr val="A39161"/>
              </a:buClr>
              <a:defRPr sz="1200" b="0" i="1" spc="0">
                <a:solidFill>
                  <a:schemeClr val="bg1"/>
                </a:solidFill>
                <a:latin typeface="+mn-lt"/>
                <a:ea typeface="Calibri Light" charset="0"/>
                <a:cs typeface="Calibr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1157005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hapter_3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968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20" name="Espace réservé du numéro de diapositive 5">
            <a:extLst>
              <a:ext uri="{FF2B5EF4-FFF2-40B4-BE49-F238E27FC236}">
                <a16:creationId xmlns:a16="http://schemas.microsoft.com/office/drawing/2014/main" id="{4AA1BF0F-C964-4920-975F-CEF16CB37C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307DE156-D9AB-4563-87DE-68BE89D2B2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63BEAB40-2E0C-4131-B01D-0D9929DC5B0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36943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94">
          <p15:clr>
            <a:srgbClr val="F26B43"/>
          </p15:clr>
        </p15:guide>
        <p15:guide id="2" orient="horz" pos="3962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TY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4DFEA-2014-1751-E480-8A66CDCDA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6095800" cy="1610016"/>
          </a:xfrm>
        </p:spPr>
        <p:txBody>
          <a:bodyPr/>
          <a:lstStyle>
            <a:lvl1pPr>
              <a:defRPr sz="4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A47BBA45-30B2-1AE1-4D29-166B974CDEE5}"/>
              </a:ext>
            </a:extLst>
          </p:cNvPr>
          <p:cNvSpPr/>
          <p:nvPr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066FE41-55CD-1D44-7ED7-B1E742AF18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8762" y="1032463"/>
            <a:ext cx="2600325" cy="1820863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C3EC48E-82FF-AD78-A375-4569D05591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494989"/>
            <a:ext cx="6096000" cy="12747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C7953FA7-7CC9-EFDA-292B-AD4EE8BF2312}"/>
              </a:ext>
            </a:extLst>
          </p:cNvPr>
          <p:cNvSpPr/>
          <p:nvPr userDrawn="1"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1FC277-A24A-127A-0091-6B28965A6AC2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6" name="Classification">
            <a:extLst>
              <a:ext uri="{FF2B5EF4-FFF2-40B4-BE49-F238E27FC236}">
                <a16:creationId xmlns:a16="http://schemas.microsoft.com/office/drawing/2014/main" id="{F7612056-C83D-6D6F-29E4-738CDFF48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708CEE-85D5-A302-B530-7893E71F8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3263" y="6183032"/>
            <a:ext cx="1413124" cy="4985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80702ED-3CCA-6BC3-6B8A-35A6915202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3263" y="6183032"/>
            <a:ext cx="1413124" cy="498550"/>
          </a:xfrm>
          <a:prstGeom prst="rect">
            <a:avLst/>
          </a:prstGeom>
        </p:spPr>
      </p:pic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5830D2A-52BF-B634-366B-C55B90BEF0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4519" y="1598271"/>
            <a:ext cx="1197293" cy="482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6958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ull bleed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 Photo">
            <a:extLst>
              <a:ext uri="{FF2B5EF4-FFF2-40B4-BE49-F238E27FC236}">
                <a16:creationId xmlns:a16="http://schemas.microsoft.com/office/drawing/2014/main" id="{F9C24E1D-7E68-48BF-A685-1162607AF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880000" rtlCol="0" anchor="b">
            <a:noAutofit/>
          </a:bodyPr>
          <a:lstStyle>
            <a:lvl1pPr>
              <a:defRPr lang="en-GB" sz="1600" b="1" dirty="0"/>
            </a:lvl1pPr>
          </a:lstStyle>
          <a:p>
            <a:pPr lvl="0" algn="ctr"/>
            <a:r>
              <a:rPr lang="en-GB" dirty="0"/>
              <a:t>Click icon to add imag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450000"/>
            <a:ext cx="3962343" cy="3742438"/>
          </a:xfrm>
        </p:spPr>
        <p:txBody>
          <a:bodyPr anchor="t"/>
          <a:lstStyle>
            <a:lvl1pPr>
              <a:lnSpc>
                <a:spcPct val="100000"/>
              </a:lnSpc>
              <a:defRPr sz="4000" cap="none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 text background image</a:t>
            </a:r>
            <a:endParaRPr lang="fr-FR" dirty="0"/>
          </a:p>
        </p:txBody>
      </p:sp>
      <p:pic>
        <p:nvPicPr>
          <p:cNvPr id="2" name="Graphic 5">
            <a:extLst>
              <a:ext uri="{FF2B5EF4-FFF2-40B4-BE49-F238E27FC236}">
                <a16:creationId xmlns:a16="http://schemas.microsoft.com/office/drawing/2014/main" id="{098C12D9-A609-15B2-45B0-FE928A3531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789535" y="6180549"/>
            <a:ext cx="945897" cy="448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213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ft half hanging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53899" y="2301240"/>
            <a:ext cx="5498363" cy="3359785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18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8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8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B6D4E6-07B9-1C8D-69DD-712BC77D3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3900" y="365760"/>
            <a:ext cx="5498363" cy="10517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4388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hite_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FE4D39-4D4B-EF55-6284-160F99E533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364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(with Harp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7E62DCD9-39A9-1039-F197-8B66C6553D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5" t="18523" r="74814" b="19072"/>
          <a:stretch>
            <a:fillRect/>
          </a:stretch>
        </p:blipFill>
        <p:spPr bwMode="auto">
          <a:xfrm>
            <a:off x="10852150" y="475456"/>
            <a:ext cx="737394" cy="100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ialtas na hÉireann | Government of Ireland">
            <a:extLst>
              <a:ext uri="{FF2B5EF4-FFF2-40B4-BE49-F238E27FC236}">
                <a16:creationId xmlns:a16="http://schemas.microsoft.com/office/drawing/2014/main" id="{A9C9BF79-6557-6370-3461-0F9FBEFA54D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20725" y="6305902"/>
            <a:ext cx="2569614" cy="189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25400" tIns="25400" rIns="25400" bIns="25400" anchor="ctr">
            <a:spAutoFit/>
          </a:bodyPr>
          <a:lstStyle>
            <a:lvl1pPr eaLnBrk="0" hangingPunct="0">
              <a:defRPr sz="56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742950" indent="-285750" eaLnBrk="0" hangingPunct="0">
              <a:defRPr sz="56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1143000" indent="-228600" eaLnBrk="0" hangingPunct="0">
              <a:defRPr sz="56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1600200" indent="-228600" eaLnBrk="0" hangingPunct="0">
              <a:defRPr sz="56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2057400" indent="-228600" eaLnBrk="0" hangingPunct="0">
              <a:defRPr sz="56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9pPr>
          </a:lstStyle>
          <a:p>
            <a:pPr eaLnBrk="1"/>
            <a:fld id="{CCBE8DFF-EC9C-9A4B-97EB-760AF3A138DF}" type="slidenum">
              <a:rPr lang="uk-UA" altLang="en-US" sz="900" b="1">
                <a:solidFill>
                  <a:srgbClr val="929292"/>
                </a:solidFill>
                <a:latin typeface="Arial" panose="020B0604020202020204" pitchFamily="34" charset="0"/>
              </a:rPr>
              <a:pPr eaLnBrk="1"/>
              <a:t>‹#›</a:t>
            </a:fld>
            <a:r>
              <a:rPr lang="en-GB" altLang="en-US" sz="900" b="1">
                <a:solidFill>
                  <a:srgbClr val="929292"/>
                </a:solidFill>
                <a:latin typeface="Arial" panose="020B0604020202020204" pitchFamily="34" charset="0"/>
              </a:rPr>
              <a:t>  </a:t>
            </a:r>
            <a:r>
              <a:rPr lang="en-US" altLang="en-US" sz="900" b="1">
                <a:solidFill>
                  <a:srgbClr val="929292"/>
                </a:solidFill>
                <a:latin typeface="Arial" panose="020B0604020202020204" pitchFamily="34" charset="0"/>
              </a:rPr>
              <a:t>Rialtas na hÉireann</a:t>
            </a:r>
            <a:r>
              <a:rPr lang="en-GB" altLang="en-US" sz="900">
                <a:solidFill>
                  <a:srgbClr val="929292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>
                <a:solidFill>
                  <a:srgbClr val="929292"/>
                </a:solidFill>
                <a:latin typeface="Arial" panose="020B0604020202020204" pitchFamily="34" charset="0"/>
              </a:rPr>
              <a:t>| Government of Ireland</a:t>
            </a:r>
          </a:p>
        </p:txBody>
      </p:sp>
      <p:sp>
        <p:nvSpPr>
          <p:cNvPr id="43" name="Body Level One…"/>
          <p:cNvSpPr txBox="1">
            <a:spLocks noGrp="1"/>
          </p:cNvSpPr>
          <p:nvPr>
            <p:ph type="body" idx="1"/>
          </p:nvPr>
        </p:nvSpPr>
        <p:spPr>
          <a:xfrm>
            <a:off x="720726" y="1778000"/>
            <a:ext cx="9885112" cy="4376153"/>
          </a:xfrm>
          <a:prstGeom prst="rect">
            <a:avLst/>
          </a:prstGeom>
        </p:spPr>
        <p:txBody>
          <a:bodyPr numCol="1" spcCol="1039079"/>
          <a:lstStyle>
            <a:lvl1pPr algn="l">
              <a:defRPr sz="9000" b="0" i="0" spc="-43">
                <a:solidFill>
                  <a:srgbClr val="006072"/>
                </a:solidFill>
                <a:latin typeface="+mn-lt"/>
                <a:ea typeface="Calibri" charset="0"/>
                <a:cs typeface="Calibri" charset="0"/>
              </a:defRPr>
            </a:lvl1pPr>
            <a:lvl2pPr marL="0" indent="0" algn="l">
              <a:buClr>
                <a:schemeClr val="accent2">
                  <a:lumMod val="50000"/>
                </a:schemeClr>
              </a:buClr>
              <a:buFont typeface="Arial" charset="0"/>
              <a:buNone/>
              <a:defRPr sz="2200" b="0" i="0" spc="-43">
                <a:solidFill>
                  <a:srgbClr val="5E5E5E"/>
                </a:solidFill>
                <a:latin typeface="+mn-lt"/>
                <a:ea typeface="Calibri Light" charset="0"/>
                <a:cs typeface="Calibri Light" charset="0"/>
              </a:defRPr>
            </a:lvl2pPr>
            <a:lvl3pPr marL="609600" indent="-304800" algn="l">
              <a:buClr>
                <a:schemeClr val="accent4">
                  <a:hueOff val="-1081314"/>
                  <a:satOff val="4338"/>
                  <a:lumOff val="-8931"/>
                </a:schemeClr>
              </a:buClr>
              <a:buSzPct val="100000"/>
              <a:buChar char="—"/>
              <a:defRPr sz="2200" b="0" i="1">
                <a:solidFill>
                  <a:srgbClr val="5E5E5E"/>
                </a:solidFill>
                <a:latin typeface="+mn-lt"/>
                <a:ea typeface="Calibri Light" charset="0"/>
                <a:cs typeface="Calibri Light" charset="0"/>
              </a:defRPr>
            </a:lvl3pPr>
            <a:lvl4pPr marL="914400" indent="-304800" algn="l">
              <a:buClr>
                <a:srgbClr val="83BE41"/>
              </a:buClr>
              <a:buSzPct val="100000"/>
              <a:buFont typeface=".AppleSystemUIFont" charset="-120"/>
              <a:buChar char="—"/>
              <a:defRPr sz="2200" b="0" i="0">
                <a:solidFill>
                  <a:srgbClr val="5E5E5E"/>
                </a:solidFill>
                <a:latin typeface="+mn-lt"/>
                <a:ea typeface="Calibri Light" charset="0"/>
                <a:cs typeface="Calibri Light" charset="0"/>
              </a:defRPr>
            </a:lvl4pPr>
            <a:lvl5pPr marL="1206500" indent="-304800" algn="l">
              <a:buClr>
                <a:srgbClr val="929292"/>
              </a:buClr>
              <a:buSzPct val="100000"/>
              <a:buChar char="–"/>
              <a:defRPr sz="2200" b="0" i="1">
                <a:solidFill>
                  <a:srgbClr val="5E5E5E"/>
                </a:solidFill>
                <a:latin typeface="+mn-lt"/>
                <a:ea typeface="Calibri Light" charset="0"/>
                <a:cs typeface="Calibr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8082745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99" y="1350000"/>
            <a:ext cx="5825926" cy="715669"/>
          </a:xfrm>
        </p:spPr>
        <p:txBody>
          <a:bodyPr/>
          <a:lstStyle>
            <a:lvl1pPr>
              <a:defRPr sz="4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6C551072-26BC-6754-FFC3-623433564F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494989"/>
            <a:ext cx="3851275" cy="12747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67F8163F-D370-5C4C-500A-7D576C590B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05000" y="0"/>
            <a:ext cx="10300263" cy="6870700"/>
          </a:xfrm>
          <a:custGeom>
            <a:avLst/>
            <a:gdLst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6896100 w 10287001"/>
              <a:gd name="connsiteY3" fmla="*/ 6858000 h 6858000"/>
              <a:gd name="connsiteX4" fmla="*/ 0 w 10287001"/>
              <a:gd name="connsiteY4" fmla="*/ 6858000 h 6858000"/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8636000 w 10287001"/>
              <a:gd name="connsiteY3" fmla="*/ 5080000 h 6858000"/>
              <a:gd name="connsiteX4" fmla="*/ 6896100 w 10287001"/>
              <a:gd name="connsiteY4" fmla="*/ 6858000 h 6858000"/>
              <a:gd name="connsiteX5" fmla="*/ 0 w 10287001"/>
              <a:gd name="connsiteY5" fmla="*/ 6858000 h 6858000"/>
              <a:gd name="connsiteX6" fmla="*/ 6858000 w 10287001"/>
              <a:gd name="connsiteY6" fmla="*/ 0 h 6858000"/>
              <a:gd name="connsiteX0" fmla="*/ 6858000 w 10287001"/>
              <a:gd name="connsiteY0" fmla="*/ 0 h 6870700"/>
              <a:gd name="connsiteX1" fmla="*/ 10287001 w 10287001"/>
              <a:gd name="connsiteY1" fmla="*/ 0 h 6870700"/>
              <a:gd name="connsiteX2" fmla="*/ 10287001 w 10287001"/>
              <a:gd name="connsiteY2" fmla="*/ 3467099 h 6870700"/>
              <a:gd name="connsiteX3" fmla="*/ 10274300 w 10287001"/>
              <a:gd name="connsiteY3" fmla="*/ 6870700 h 6870700"/>
              <a:gd name="connsiteX4" fmla="*/ 6896100 w 10287001"/>
              <a:gd name="connsiteY4" fmla="*/ 6858000 h 6870700"/>
              <a:gd name="connsiteX5" fmla="*/ 0 w 10287001"/>
              <a:gd name="connsiteY5" fmla="*/ 6858000 h 6870700"/>
              <a:gd name="connsiteX6" fmla="*/ 6858000 w 10287001"/>
              <a:gd name="connsiteY6" fmla="*/ 0 h 6870700"/>
              <a:gd name="connsiteX0" fmla="*/ 6858000 w 10300263"/>
              <a:gd name="connsiteY0" fmla="*/ 0 h 6870700"/>
              <a:gd name="connsiteX1" fmla="*/ 10287001 w 10300263"/>
              <a:gd name="connsiteY1" fmla="*/ 0 h 6870700"/>
              <a:gd name="connsiteX2" fmla="*/ 10287001 w 10300263"/>
              <a:gd name="connsiteY2" fmla="*/ 3467099 h 6870700"/>
              <a:gd name="connsiteX3" fmla="*/ 10299700 w 10300263"/>
              <a:gd name="connsiteY3" fmla="*/ 6870700 h 6870700"/>
              <a:gd name="connsiteX4" fmla="*/ 6896100 w 10300263"/>
              <a:gd name="connsiteY4" fmla="*/ 6858000 h 6870700"/>
              <a:gd name="connsiteX5" fmla="*/ 0 w 10300263"/>
              <a:gd name="connsiteY5" fmla="*/ 6858000 h 6870700"/>
              <a:gd name="connsiteX6" fmla="*/ 6858000 w 10300263"/>
              <a:gd name="connsiteY6" fmla="*/ 0 h 687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00263" h="6870700">
                <a:moveTo>
                  <a:pt x="6858000" y="0"/>
                </a:moveTo>
                <a:lnTo>
                  <a:pt x="10287001" y="0"/>
                </a:lnTo>
                <a:lnTo>
                  <a:pt x="10287001" y="3467099"/>
                </a:lnTo>
                <a:cubicBezTo>
                  <a:pt x="10282767" y="4601633"/>
                  <a:pt x="10303934" y="5736166"/>
                  <a:pt x="10299700" y="6870700"/>
                </a:cubicBezTo>
                <a:lnTo>
                  <a:pt x="6896100" y="6858000"/>
                </a:lnTo>
                <a:lnTo>
                  <a:pt x="0" y="6858000"/>
                </a:lnTo>
                <a:lnTo>
                  <a:pt x="6858000" y="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lassification">
            <a:extLst>
              <a:ext uri="{FF2B5EF4-FFF2-40B4-BE49-F238E27FC236}">
                <a16:creationId xmlns:a16="http://schemas.microsoft.com/office/drawing/2014/main" id="{6A957CF6-0DF2-748E-CBF0-17B6B8878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374219"/>
            <a:ext cx="1540262" cy="24622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Research Stimulus | Final | Strictly 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01F50E2-AC52-B6E0-7E1C-A61480710D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886" y="6279780"/>
            <a:ext cx="1037788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585048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99" y="1350000"/>
            <a:ext cx="5825925" cy="715669"/>
          </a:xfrm>
        </p:spPr>
        <p:txBody>
          <a:bodyPr/>
          <a:lstStyle>
            <a:lvl1pPr>
              <a:defRPr sz="48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8CDCDA0A-C736-B40F-7E80-2D0FC7024A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799" y="3494989"/>
            <a:ext cx="3851275" cy="12747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67F8163F-D370-5C4C-500A-7D576C590B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05000" y="0"/>
            <a:ext cx="10300263" cy="6870700"/>
          </a:xfrm>
          <a:custGeom>
            <a:avLst/>
            <a:gdLst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6896100 w 10287001"/>
              <a:gd name="connsiteY3" fmla="*/ 6858000 h 6858000"/>
              <a:gd name="connsiteX4" fmla="*/ 0 w 10287001"/>
              <a:gd name="connsiteY4" fmla="*/ 6858000 h 6858000"/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8636000 w 10287001"/>
              <a:gd name="connsiteY3" fmla="*/ 5080000 h 6858000"/>
              <a:gd name="connsiteX4" fmla="*/ 6896100 w 10287001"/>
              <a:gd name="connsiteY4" fmla="*/ 6858000 h 6858000"/>
              <a:gd name="connsiteX5" fmla="*/ 0 w 10287001"/>
              <a:gd name="connsiteY5" fmla="*/ 6858000 h 6858000"/>
              <a:gd name="connsiteX6" fmla="*/ 6858000 w 10287001"/>
              <a:gd name="connsiteY6" fmla="*/ 0 h 6858000"/>
              <a:gd name="connsiteX0" fmla="*/ 6858000 w 10287001"/>
              <a:gd name="connsiteY0" fmla="*/ 0 h 6870700"/>
              <a:gd name="connsiteX1" fmla="*/ 10287001 w 10287001"/>
              <a:gd name="connsiteY1" fmla="*/ 0 h 6870700"/>
              <a:gd name="connsiteX2" fmla="*/ 10287001 w 10287001"/>
              <a:gd name="connsiteY2" fmla="*/ 3467099 h 6870700"/>
              <a:gd name="connsiteX3" fmla="*/ 10274300 w 10287001"/>
              <a:gd name="connsiteY3" fmla="*/ 6870700 h 6870700"/>
              <a:gd name="connsiteX4" fmla="*/ 6896100 w 10287001"/>
              <a:gd name="connsiteY4" fmla="*/ 6858000 h 6870700"/>
              <a:gd name="connsiteX5" fmla="*/ 0 w 10287001"/>
              <a:gd name="connsiteY5" fmla="*/ 6858000 h 6870700"/>
              <a:gd name="connsiteX6" fmla="*/ 6858000 w 10287001"/>
              <a:gd name="connsiteY6" fmla="*/ 0 h 6870700"/>
              <a:gd name="connsiteX0" fmla="*/ 6858000 w 10300263"/>
              <a:gd name="connsiteY0" fmla="*/ 0 h 6870700"/>
              <a:gd name="connsiteX1" fmla="*/ 10287001 w 10300263"/>
              <a:gd name="connsiteY1" fmla="*/ 0 h 6870700"/>
              <a:gd name="connsiteX2" fmla="*/ 10287001 w 10300263"/>
              <a:gd name="connsiteY2" fmla="*/ 3467099 h 6870700"/>
              <a:gd name="connsiteX3" fmla="*/ 10299700 w 10300263"/>
              <a:gd name="connsiteY3" fmla="*/ 6870700 h 6870700"/>
              <a:gd name="connsiteX4" fmla="*/ 6896100 w 10300263"/>
              <a:gd name="connsiteY4" fmla="*/ 6858000 h 6870700"/>
              <a:gd name="connsiteX5" fmla="*/ 0 w 10300263"/>
              <a:gd name="connsiteY5" fmla="*/ 6858000 h 6870700"/>
              <a:gd name="connsiteX6" fmla="*/ 6858000 w 10300263"/>
              <a:gd name="connsiteY6" fmla="*/ 0 h 687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300263" h="6870700">
                <a:moveTo>
                  <a:pt x="6858000" y="0"/>
                </a:moveTo>
                <a:lnTo>
                  <a:pt x="10287001" y="0"/>
                </a:lnTo>
                <a:lnTo>
                  <a:pt x="10287001" y="3467099"/>
                </a:lnTo>
                <a:cubicBezTo>
                  <a:pt x="10282767" y="4601633"/>
                  <a:pt x="10303934" y="5736166"/>
                  <a:pt x="10299700" y="6870700"/>
                </a:cubicBezTo>
                <a:lnTo>
                  <a:pt x="6896100" y="6858000"/>
                </a:lnTo>
                <a:lnTo>
                  <a:pt x="0" y="6858000"/>
                </a:lnTo>
                <a:lnTo>
                  <a:pt x="6858000" y="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lassification">
            <a:extLst>
              <a:ext uri="{FF2B5EF4-FFF2-40B4-BE49-F238E27FC236}">
                <a16:creationId xmlns:a16="http://schemas.microsoft.com/office/drawing/2014/main" id="{268034F8-D9C2-8C58-D3F0-75FD7B94D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374219"/>
            <a:ext cx="1540262" cy="24622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| Research Stimulus | Final | Strictly 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AC09F8A-51C4-2E28-80D3-C72FC660B9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886" y="6279780"/>
            <a:ext cx="1037788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632282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623" y="1350000"/>
            <a:ext cx="5536747" cy="715669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A1A0E186-5FCC-AF1B-9AB2-F4AB588ABD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494989"/>
            <a:ext cx="3551238" cy="12747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8ED5220B-285D-EC14-D33F-B34A17FD9E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18724" y="0"/>
            <a:ext cx="10273277" cy="6858000"/>
          </a:xfrm>
          <a:custGeom>
            <a:avLst/>
            <a:gdLst>
              <a:gd name="connsiteX0" fmla="*/ 6858000 w 10273277"/>
              <a:gd name="connsiteY0" fmla="*/ 0 h 6858000"/>
              <a:gd name="connsiteX1" fmla="*/ 10273277 w 10273277"/>
              <a:gd name="connsiteY1" fmla="*/ 0 h 6858000"/>
              <a:gd name="connsiteX2" fmla="*/ 10273277 w 10273277"/>
              <a:gd name="connsiteY2" fmla="*/ 6858000 h 6858000"/>
              <a:gd name="connsiteX3" fmla="*/ 10273276 w 10273277"/>
              <a:gd name="connsiteY3" fmla="*/ 6858000 h 6858000"/>
              <a:gd name="connsiteX4" fmla="*/ 10273276 w 10273277"/>
              <a:gd name="connsiteY4" fmla="*/ 3947601 h 6858000"/>
              <a:gd name="connsiteX5" fmla="*/ 7362877 w 10273277"/>
              <a:gd name="connsiteY5" fmla="*/ 6858000 h 6858000"/>
              <a:gd name="connsiteX6" fmla="*/ 0 w 1027327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73277" h="6858000">
                <a:moveTo>
                  <a:pt x="6858000" y="0"/>
                </a:moveTo>
                <a:lnTo>
                  <a:pt x="10273277" y="0"/>
                </a:lnTo>
                <a:lnTo>
                  <a:pt x="10273277" y="6858000"/>
                </a:lnTo>
                <a:lnTo>
                  <a:pt x="10273276" y="6858000"/>
                </a:lnTo>
                <a:lnTo>
                  <a:pt x="10273276" y="3947601"/>
                </a:lnTo>
                <a:lnTo>
                  <a:pt x="7362877" y="6858000"/>
                </a:lnTo>
                <a:lnTo>
                  <a:pt x="0" y="6858000"/>
                </a:lnTo>
                <a:close/>
              </a:path>
            </a:pathLst>
          </a:custGeom>
          <a:pattFill prst="dk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Classification">
            <a:extLst>
              <a:ext uri="{FF2B5EF4-FFF2-40B4-BE49-F238E27FC236}">
                <a16:creationId xmlns:a16="http://schemas.microsoft.com/office/drawing/2014/main" id="{A2DBDE31-A0D1-C0E0-CFCE-D83929DAC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374219"/>
            <a:ext cx="1695772" cy="24622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Research Stimulus | Final | Strictly 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8F317A4-2A6E-F3D9-1919-EB4BE3705B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887" y="6279780"/>
            <a:ext cx="1037786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924440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024DFEA-2014-1751-E480-8A66CDCDA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6095800" cy="1610016"/>
          </a:xfrm>
        </p:spPr>
        <p:txBody>
          <a:bodyPr/>
          <a:lstStyle>
            <a:lvl1pPr>
              <a:defRPr sz="4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1C3EC48E-82FF-AD78-A375-4569D05591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494989"/>
            <a:ext cx="6096000" cy="12747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11" name="Chapter Number">
            <a:extLst>
              <a:ext uri="{FF2B5EF4-FFF2-40B4-BE49-F238E27FC236}">
                <a16:creationId xmlns:a16="http://schemas.microsoft.com/office/drawing/2014/main" id="{7066FE41-55CD-1D44-7ED7-B1E742AF18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8762" y="1032463"/>
            <a:ext cx="2600325" cy="182086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3" name="Triangle">
            <a:extLst>
              <a:ext uri="{FF2B5EF4-FFF2-40B4-BE49-F238E27FC236}">
                <a16:creationId xmlns:a16="http://schemas.microsoft.com/office/drawing/2014/main" id="{A47BBA45-30B2-1AE1-4D29-166B974CDE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6" name="Classification">
            <a:extLst>
              <a:ext uri="{FF2B5EF4-FFF2-40B4-BE49-F238E27FC236}">
                <a16:creationId xmlns:a16="http://schemas.microsoft.com/office/drawing/2014/main" id="{FDD80340-4635-16C0-216B-A823C681F1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374219"/>
            <a:ext cx="1695772" cy="24622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Research Stimulus | Final | Strictly Confidential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72396438-1F17-18D4-E6ED-2C8143857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172B88E-8CC9-883E-1E04-176751E712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886" y="6279780"/>
            <a:ext cx="1037788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6626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350000"/>
            <a:ext cx="6797676" cy="715669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4800" b="0" cap="all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29E5EE94-2CAC-A691-BCF2-845687798E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2000" y="3494989"/>
            <a:ext cx="6096000" cy="12747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92B650A8-9C21-DC86-F471-38B40FC6D5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975100 h 6858000"/>
              <a:gd name="connsiteX3" fmla="*/ 9309100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975100"/>
                </a:lnTo>
                <a:lnTo>
                  <a:pt x="9309100" y="6858000"/>
                </a:lnTo>
                <a:lnTo>
                  <a:pt x="0" y="68580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GB" dirty="0"/>
              <a:t>Click icon to insert image</a:t>
            </a:r>
          </a:p>
        </p:txBody>
      </p:sp>
      <p:sp>
        <p:nvSpPr>
          <p:cNvPr id="4" name="Classification">
            <a:extLst>
              <a:ext uri="{FF2B5EF4-FFF2-40B4-BE49-F238E27FC236}">
                <a16:creationId xmlns:a16="http://schemas.microsoft.com/office/drawing/2014/main" id="{F24B9245-8C3F-D9F1-7FC8-4D3768017B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97329"/>
            <a:ext cx="2600712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Research Stimulus | Final | Strictly Confidentia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202AE276-86A8-A521-58F1-3F84240A5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>
                    <a:lumMod val="65000"/>
                  </a:schemeClr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3" name="Graphic 3">
            <a:extLst>
              <a:ext uri="{FF2B5EF4-FFF2-40B4-BE49-F238E27FC236}">
                <a16:creationId xmlns:a16="http://schemas.microsoft.com/office/drawing/2014/main" id="{6287D199-48F8-73FA-1167-DEF92428E9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887" y="6279780"/>
            <a:ext cx="1037786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129871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3011884-C2D5-14CD-9848-37C5CB013E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2619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TY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2B650A8-9C21-DC86-F471-38B40FC6D5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975100 h 6858000"/>
              <a:gd name="connsiteX3" fmla="*/ 9309100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975100"/>
                </a:lnTo>
                <a:lnTo>
                  <a:pt x="9309100" y="6858000"/>
                </a:lnTo>
                <a:lnTo>
                  <a:pt x="0" y="68580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 sz="1800"/>
            </a:lvl1pPr>
          </a:lstStyle>
          <a:p>
            <a:pPr lvl="0" algn="ctr"/>
            <a:r>
              <a:rPr lang="en-GB" dirty="0"/>
              <a:t>Click icon to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350000"/>
            <a:ext cx="6797676" cy="715669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4800" b="0" cap="all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291164C1-FFDE-EA90-BDBC-A8ECC8F00D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494989"/>
            <a:ext cx="4720771" cy="12747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pic>
        <p:nvPicPr>
          <p:cNvPr id="5" name="Picture 4" descr="A blue and black logo&#10;&#10;Description automatically generated">
            <a:extLst>
              <a:ext uri="{FF2B5EF4-FFF2-40B4-BE49-F238E27FC236}">
                <a16:creationId xmlns:a16="http://schemas.microsoft.com/office/drawing/2014/main" id="{3960E7B6-0F0E-FE62-1342-B076331867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7784" y="6174039"/>
            <a:ext cx="938214" cy="4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674118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ubl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931429DE-4D63-DCEA-0E6E-B1E263115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column layout</a:t>
            </a:r>
            <a:endParaRPr lang="en-GB" dirty="0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11299088" cy="3861312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>
              <a:lnSpc>
                <a:spcPct val="115000"/>
              </a:lnSpc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lnSpc>
                <a:spcPct val="115000"/>
              </a:lnSpc>
              <a:spcBef>
                <a:spcPts val="400"/>
              </a:spcBef>
              <a:buSzPct val="100000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15000"/>
              </a:lnSpc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302968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931429DE-4D63-DCEA-0E6E-B1E263115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Four column layout</a:t>
            </a:r>
            <a:endParaRPr lang="en-GB" dirty="0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11299088" cy="3861312"/>
          </a:xfrm>
          <a:prstGeom prst="rect">
            <a:avLst/>
          </a:prstGeom>
        </p:spPr>
        <p:txBody>
          <a:bodyPr numCol="4" spcCol="288000"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154670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931429DE-4D63-DCEA-0E6E-B1E263115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701874"/>
            <a:ext cx="8398725" cy="71566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3 column textbox</a:t>
            </a:r>
            <a:endParaRPr lang="en-GB" dirty="0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8398725" cy="4140200"/>
          </a:xfrm>
          <a:prstGeom prst="rect">
            <a:avLst/>
          </a:prstGeom>
        </p:spPr>
        <p:txBody>
          <a:bodyPr numCol="3" spcCol="288000"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00000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556ABC33-C372-AF5C-2E2E-D41F4EF2DF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160365" y="0"/>
            <a:ext cx="2591650" cy="5948363"/>
          </a:xfrm>
          <a:custGeom>
            <a:avLst/>
            <a:gdLst>
              <a:gd name="connsiteX0" fmla="*/ 0 w 2591650"/>
              <a:gd name="connsiteY0" fmla="*/ 0 h 5948363"/>
              <a:gd name="connsiteX1" fmla="*/ 2591650 w 2591650"/>
              <a:gd name="connsiteY1" fmla="*/ 0 h 5948363"/>
              <a:gd name="connsiteX2" fmla="*/ 2591650 w 2591650"/>
              <a:gd name="connsiteY2" fmla="*/ 5583497 h 5948363"/>
              <a:gd name="connsiteX3" fmla="*/ 2226784 w 2591650"/>
              <a:gd name="connsiteY3" fmla="*/ 5948363 h 5948363"/>
              <a:gd name="connsiteX4" fmla="*/ 0 w 2591650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1650" h="5948363">
                <a:moveTo>
                  <a:pt x="0" y="0"/>
                </a:moveTo>
                <a:lnTo>
                  <a:pt x="2591650" y="0"/>
                </a:lnTo>
                <a:lnTo>
                  <a:pt x="2591650" y="5583497"/>
                </a:lnTo>
                <a:lnTo>
                  <a:pt x="2226784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63083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931429DE-4D63-DCEA-0E6E-B1E263115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70476" y="701874"/>
            <a:ext cx="8398725" cy="71566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3 column textbox</a:t>
            </a:r>
            <a:endParaRPr lang="en-GB" dirty="0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70476" y="1808163"/>
            <a:ext cx="8398725" cy="4140200"/>
          </a:xfrm>
          <a:prstGeom prst="rect">
            <a:avLst/>
          </a:prstGeom>
        </p:spPr>
        <p:txBody>
          <a:bodyPr numCol="3" spcCol="288000"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00000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F3960A8C-54BB-8626-EFC5-24884A3D9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0001" y="0"/>
            <a:ext cx="2591650" cy="5948363"/>
          </a:xfrm>
          <a:custGeom>
            <a:avLst/>
            <a:gdLst>
              <a:gd name="connsiteX0" fmla="*/ 0 w 2591650"/>
              <a:gd name="connsiteY0" fmla="*/ 0 h 5948363"/>
              <a:gd name="connsiteX1" fmla="*/ 2591650 w 2591650"/>
              <a:gd name="connsiteY1" fmla="*/ 0 h 5948363"/>
              <a:gd name="connsiteX2" fmla="*/ 2591650 w 2591650"/>
              <a:gd name="connsiteY2" fmla="*/ 5583497 h 5948363"/>
              <a:gd name="connsiteX3" fmla="*/ 2226784 w 2591650"/>
              <a:gd name="connsiteY3" fmla="*/ 5948363 h 5948363"/>
              <a:gd name="connsiteX4" fmla="*/ 0 w 2591650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91650" h="5948363">
                <a:moveTo>
                  <a:pt x="0" y="0"/>
                </a:moveTo>
                <a:lnTo>
                  <a:pt x="2591650" y="0"/>
                </a:lnTo>
                <a:lnTo>
                  <a:pt x="2591650" y="5583497"/>
                </a:lnTo>
                <a:lnTo>
                  <a:pt x="2226784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0376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er">
            <a:extLst>
              <a:ext uri="{FF2B5EF4-FFF2-40B4-BE49-F238E27FC236}">
                <a16:creationId xmlns:a16="http://schemas.microsoft.com/office/drawing/2014/main" id="{A87C81DC-5176-4847-8B6F-B68FF50589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3" name="Picture Placeholder 1">
            <a:extLst>
              <a:ext uri="{FF2B5EF4-FFF2-40B4-BE49-F238E27FC236}">
                <a16:creationId xmlns:a16="http://schemas.microsoft.com/office/drawing/2014/main" id="{D9563778-0759-A3C7-2077-55D205685E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0000" y="1819723"/>
            <a:ext cx="2563200" cy="2060179"/>
          </a:xfrm>
          <a:custGeom>
            <a:avLst/>
            <a:gdLst>
              <a:gd name="connsiteX0" fmla="*/ 0 w 2563200"/>
              <a:gd name="connsiteY0" fmla="*/ 0 h 2060179"/>
              <a:gd name="connsiteX1" fmla="*/ 2563200 w 2563200"/>
              <a:gd name="connsiteY1" fmla="*/ 0 h 2060179"/>
              <a:gd name="connsiteX2" fmla="*/ 2563200 w 2563200"/>
              <a:gd name="connsiteY2" fmla="*/ 1710166 h 2060179"/>
              <a:gd name="connsiteX3" fmla="*/ 2213187 w 2563200"/>
              <a:gd name="connsiteY3" fmla="*/ 2060179 h 2060179"/>
              <a:gd name="connsiteX4" fmla="*/ 0 w 2563200"/>
              <a:gd name="connsiteY4" fmla="*/ 2060179 h 2060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060179">
                <a:moveTo>
                  <a:pt x="0" y="0"/>
                </a:moveTo>
                <a:lnTo>
                  <a:pt x="2563200" y="0"/>
                </a:lnTo>
                <a:lnTo>
                  <a:pt x="2563200" y="1710166"/>
                </a:lnTo>
                <a:lnTo>
                  <a:pt x="2213187" y="2060179"/>
                </a:lnTo>
                <a:lnTo>
                  <a:pt x="0" y="2060179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8" name="Placeholder 1">
            <a:extLst>
              <a:ext uri="{FF2B5EF4-FFF2-40B4-BE49-F238E27FC236}">
                <a16:creationId xmlns:a16="http://schemas.microsoft.com/office/drawing/2014/main" id="{1F8BA170-026C-4B90-B5B2-B245369E3B1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4149080"/>
            <a:ext cx="2562696" cy="151194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aption he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FB1AC80C-DFEB-8A6B-FAF6-4387D3703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2152" y="1819723"/>
            <a:ext cx="2563200" cy="2060179"/>
          </a:xfrm>
          <a:custGeom>
            <a:avLst/>
            <a:gdLst>
              <a:gd name="connsiteX0" fmla="*/ 0 w 2563200"/>
              <a:gd name="connsiteY0" fmla="*/ 0 h 2060179"/>
              <a:gd name="connsiteX1" fmla="*/ 2563200 w 2563200"/>
              <a:gd name="connsiteY1" fmla="*/ 0 h 2060179"/>
              <a:gd name="connsiteX2" fmla="*/ 2563200 w 2563200"/>
              <a:gd name="connsiteY2" fmla="*/ 1693911 h 2060179"/>
              <a:gd name="connsiteX3" fmla="*/ 2196932 w 2563200"/>
              <a:gd name="connsiteY3" fmla="*/ 2060179 h 2060179"/>
              <a:gd name="connsiteX4" fmla="*/ 0 w 2563200"/>
              <a:gd name="connsiteY4" fmla="*/ 2060179 h 2060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060179">
                <a:moveTo>
                  <a:pt x="0" y="0"/>
                </a:moveTo>
                <a:lnTo>
                  <a:pt x="2563200" y="0"/>
                </a:lnTo>
                <a:lnTo>
                  <a:pt x="2563200" y="1693911"/>
                </a:lnTo>
                <a:lnTo>
                  <a:pt x="2196932" y="2060179"/>
                </a:lnTo>
                <a:lnTo>
                  <a:pt x="0" y="2060179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9" name="Placeholder 2">
            <a:extLst>
              <a:ext uri="{FF2B5EF4-FFF2-40B4-BE49-F238E27FC236}">
                <a16:creationId xmlns:a16="http://schemas.microsoft.com/office/drawing/2014/main" id="{3E6D404C-1B2B-4D62-A705-92420C5E0B1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53284" y="4149080"/>
            <a:ext cx="2562696" cy="151194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aption he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004EB87B-CDC2-8FD8-CC85-2C6F84F137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61392" y="1819723"/>
            <a:ext cx="2563200" cy="2060179"/>
          </a:xfrm>
          <a:custGeom>
            <a:avLst/>
            <a:gdLst>
              <a:gd name="connsiteX0" fmla="*/ 0 w 2563200"/>
              <a:gd name="connsiteY0" fmla="*/ 0 h 2060179"/>
              <a:gd name="connsiteX1" fmla="*/ 2563200 w 2563200"/>
              <a:gd name="connsiteY1" fmla="*/ 0 h 2060179"/>
              <a:gd name="connsiteX2" fmla="*/ 2563200 w 2563200"/>
              <a:gd name="connsiteY2" fmla="*/ 1693911 h 2060179"/>
              <a:gd name="connsiteX3" fmla="*/ 2196932 w 2563200"/>
              <a:gd name="connsiteY3" fmla="*/ 2060179 h 2060179"/>
              <a:gd name="connsiteX4" fmla="*/ 0 w 2563200"/>
              <a:gd name="connsiteY4" fmla="*/ 2060179 h 2060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060179">
                <a:moveTo>
                  <a:pt x="0" y="0"/>
                </a:moveTo>
                <a:lnTo>
                  <a:pt x="2563200" y="0"/>
                </a:lnTo>
                <a:lnTo>
                  <a:pt x="2563200" y="1693911"/>
                </a:lnTo>
                <a:lnTo>
                  <a:pt x="2196932" y="2060179"/>
                </a:lnTo>
                <a:lnTo>
                  <a:pt x="0" y="2060179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10" name="Placeholder 3">
            <a:extLst>
              <a:ext uri="{FF2B5EF4-FFF2-40B4-BE49-F238E27FC236}">
                <a16:creationId xmlns:a16="http://schemas.microsoft.com/office/drawing/2014/main" id="{923258DA-B24D-4726-BEDE-A9FF5A9B32F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276263" y="4149080"/>
            <a:ext cx="2562696" cy="151194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aption here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A79420B5-3D8F-CDB3-2EEE-E20638F6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170632" y="1819723"/>
            <a:ext cx="2563200" cy="2060179"/>
          </a:xfrm>
          <a:custGeom>
            <a:avLst/>
            <a:gdLst>
              <a:gd name="connsiteX0" fmla="*/ 0 w 2563200"/>
              <a:gd name="connsiteY0" fmla="*/ 0 h 2060179"/>
              <a:gd name="connsiteX1" fmla="*/ 2563200 w 2563200"/>
              <a:gd name="connsiteY1" fmla="*/ 0 h 2060179"/>
              <a:gd name="connsiteX2" fmla="*/ 2563200 w 2563200"/>
              <a:gd name="connsiteY2" fmla="*/ 1693911 h 2060179"/>
              <a:gd name="connsiteX3" fmla="*/ 2196932 w 2563200"/>
              <a:gd name="connsiteY3" fmla="*/ 2060179 h 2060179"/>
              <a:gd name="connsiteX4" fmla="*/ 0 w 2563200"/>
              <a:gd name="connsiteY4" fmla="*/ 2060179 h 2060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3200" h="2060179">
                <a:moveTo>
                  <a:pt x="0" y="0"/>
                </a:moveTo>
                <a:lnTo>
                  <a:pt x="2563200" y="0"/>
                </a:lnTo>
                <a:lnTo>
                  <a:pt x="2563200" y="1693911"/>
                </a:lnTo>
                <a:lnTo>
                  <a:pt x="2196932" y="2060179"/>
                </a:lnTo>
                <a:lnTo>
                  <a:pt x="0" y="2060179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11" name="Placeholder 4">
            <a:extLst>
              <a:ext uri="{FF2B5EF4-FFF2-40B4-BE49-F238E27FC236}">
                <a16:creationId xmlns:a16="http://schemas.microsoft.com/office/drawing/2014/main" id="{7729A41C-F3D0-4276-AF16-6EBB4FA6849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74577" y="4149080"/>
            <a:ext cx="2562696" cy="151194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aption here</a:t>
            </a:r>
          </a:p>
        </p:txBody>
      </p:sp>
    </p:spTree>
    <p:extLst>
      <p:ext uri="{BB962C8B-B14F-4D97-AF65-F5344CB8AC3E}">
        <p14:creationId xmlns:p14="http://schemas.microsoft.com/office/powerpoint/2010/main" val="28849280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x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Header">
            <a:extLst>
              <a:ext uri="{FF2B5EF4-FFF2-40B4-BE49-F238E27FC236}">
                <a16:creationId xmlns:a16="http://schemas.microsoft.com/office/drawing/2014/main" id="{5245E30C-ACBC-4426-8962-C03D3DB3F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ceholder 1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10984"/>
            <a:ext cx="2562696" cy="3850041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00000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5" name="Placeholder 2">
            <a:extLst>
              <a:ext uri="{FF2B5EF4-FFF2-40B4-BE49-F238E27FC236}">
                <a16:creationId xmlns:a16="http://schemas.microsoft.com/office/drawing/2014/main" id="{FED60B5C-31E2-4ABE-BB94-6CC89A3FD7F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53284" y="1810984"/>
            <a:ext cx="2562696" cy="3850041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00000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7" name="Placeholder 3">
            <a:extLst>
              <a:ext uri="{FF2B5EF4-FFF2-40B4-BE49-F238E27FC236}">
                <a16:creationId xmlns:a16="http://schemas.microsoft.com/office/drawing/2014/main" id="{F0AC0C8B-24FF-433E-9C4D-B350C449B331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76263" y="1810984"/>
            <a:ext cx="2562696" cy="3850041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00000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8" name="Placeholder 4">
            <a:extLst>
              <a:ext uri="{FF2B5EF4-FFF2-40B4-BE49-F238E27FC236}">
                <a16:creationId xmlns:a16="http://schemas.microsoft.com/office/drawing/2014/main" id="{2293604D-A39C-4151-970A-A0EBEBFE9FBE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74577" y="1810984"/>
            <a:ext cx="2562696" cy="3850041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00000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4838692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ngin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0E9919A9-E10C-40B2-4E9E-9822C6505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4000" y="701874"/>
            <a:ext cx="5481636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64000" y="1792800"/>
            <a:ext cx="5456880" cy="4155563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00000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B46C10D5-25FF-ADE9-303F-74E74487A0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42912" y="0"/>
            <a:ext cx="5481637" cy="5948363"/>
          </a:xfrm>
          <a:custGeom>
            <a:avLst/>
            <a:gdLst>
              <a:gd name="connsiteX0" fmla="*/ 0 w 5481637"/>
              <a:gd name="connsiteY0" fmla="*/ 0 h 5948363"/>
              <a:gd name="connsiteX1" fmla="*/ 5481637 w 5481637"/>
              <a:gd name="connsiteY1" fmla="*/ 0 h 5948363"/>
              <a:gd name="connsiteX2" fmla="*/ 5481637 w 5481637"/>
              <a:gd name="connsiteY2" fmla="*/ 5267325 h 5948363"/>
              <a:gd name="connsiteX3" fmla="*/ 4800599 w 5481637"/>
              <a:gd name="connsiteY3" fmla="*/ 5948363 h 5948363"/>
              <a:gd name="connsiteX4" fmla="*/ 0 w 5481637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1637" h="5948363">
                <a:moveTo>
                  <a:pt x="0" y="0"/>
                </a:moveTo>
                <a:lnTo>
                  <a:pt x="5481637" y="0"/>
                </a:lnTo>
                <a:lnTo>
                  <a:pt x="5481637" y="5267325"/>
                </a:lnTo>
                <a:lnTo>
                  <a:pt x="4800599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2433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ngin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8B6D4E6-07B9-1C8D-69DD-712BC77D3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5498363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999" y="1792800"/>
            <a:ext cx="5498363" cy="4155563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00000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7DB11690-8C83-E885-3A76-8A5F9425F0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62687" y="0"/>
            <a:ext cx="5481637" cy="5948363"/>
          </a:xfrm>
          <a:custGeom>
            <a:avLst/>
            <a:gdLst>
              <a:gd name="connsiteX0" fmla="*/ 0 w 5481637"/>
              <a:gd name="connsiteY0" fmla="*/ 0 h 5948363"/>
              <a:gd name="connsiteX1" fmla="*/ 5481637 w 5481637"/>
              <a:gd name="connsiteY1" fmla="*/ 0 h 5948363"/>
              <a:gd name="connsiteX2" fmla="*/ 5481637 w 5481637"/>
              <a:gd name="connsiteY2" fmla="*/ 5267325 h 5948363"/>
              <a:gd name="connsiteX3" fmla="*/ 4800599 w 5481637"/>
              <a:gd name="connsiteY3" fmla="*/ 5948363 h 5948363"/>
              <a:gd name="connsiteX4" fmla="*/ 0 w 5481637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1637" h="5948363">
                <a:moveTo>
                  <a:pt x="0" y="0"/>
                </a:moveTo>
                <a:lnTo>
                  <a:pt x="5481637" y="0"/>
                </a:lnTo>
                <a:lnTo>
                  <a:pt x="5481637" y="5267325"/>
                </a:lnTo>
                <a:lnTo>
                  <a:pt x="4800599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3994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half hanging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8B6D4E6-07B9-1C8D-69DD-712BC77D3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5498363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999" y="1792800"/>
            <a:ext cx="5498363" cy="4155563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00000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4113626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half hanging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8B6D4E6-07B9-1C8D-69DD-712BC77D3C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4000" y="701874"/>
            <a:ext cx="5498363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64000" y="1792800"/>
            <a:ext cx="5498363" cy="4155563"/>
          </a:xfrm>
          <a:prstGeom prst="rect">
            <a:avLst/>
          </a:prstGeom>
        </p:spPr>
        <p:txBody>
          <a:bodyPr numCol="2" spcCol="288000"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789402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11299088" cy="3861312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1429DE-4D63-DCEA-0E6E-B1E263115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ingle column layou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2725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right minim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54E27D68-304E-2851-A717-EC07EC07C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2598737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laceholder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2133600"/>
            <a:ext cx="2598737" cy="3814763"/>
          </a:xfrm>
          <a:prstGeom prst="rect">
            <a:avLst/>
          </a:prstGeom>
        </p:spPr>
        <p:txBody>
          <a:bodyPr/>
          <a:lstStyle>
            <a:lvl2pPr marL="180975" indent="-180975"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B940E09C-FB56-2356-82CD-53290C1A1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355975" y="0"/>
            <a:ext cx="8386763" cy="5948363"/>
          </a:xfrm>
          <a:custGeom>
            <a:avLst/>
            <a:gdLst>
              <a:gd name="connsiteX0" fmla="*/ 0 w 8386763"/>
              <a:gd name="connsiteY0" fmla="*/ 0 h 5948363"/>
              <a:gd name="connsiteX1" fmla="*/ 8386763 w 8386763"/>
              <a:gd name="connsiteY1" fmla="*/ 0 h 5948363"/>
              <a:gd name="connsiteX2" fmla="*/ 8386763 w 8386763"/>
              <a:gd name="connsiteY2" fmla="*/ 4779992 h 5948363"/>
              <a:gd name="connsiteX3" fmla="*/ 7218392 w 8386763"/>
              <a:gd name="connsiteY3" fmla="*/ 5948363 h 5948363"/>
              <a:gd name="connsiteX4" fmla="*/ 0 w 8386763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86763" h="5948363">
                <a:moveTo>
                  <a:pt x="0" y="0"/>
                </a:moveTo>
                <a:lnTo>
                  <a:pt x="8386763" y="0"/>
                </a:lnTo>
                <a:lnTo>
                  <a:pt x="8386763" y="4779992"/>
                </a:lnTo>
                <a:lnTo>
                  <a:pt x="7218392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GB" dirty="0"/>
              <a:t>Click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848248004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Left minimal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A647BE65-B969-B69D-209F-96B62E40F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762" y="701874"/>
            <a:ext cx="2600325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laceholder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8763" y="2162629"/>
            <a:ext cx="2562158" cy="3785734"/>
          </a:xfrm>
          <a:prstGeom prst="rect">
            <a:avLst/>
          </a:prstGeom>
        </p:spPr>
        <p:txBody>
          <a:bodyPr/>
          <a:lstStyle>
            <a:lvl2pPr marL="180975" indent="-180975"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925894C0-F0A5-92C3-CA5E-CC0E9E1921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4930" y="0"/>
            <a:ext cx="8386763" cy="5948363"/>
          </a:xfrm>
          <a:custGeom>
            <a:avLst/>
            <a:gdLst>
              <a:gd name="connsiteX0" fmla="*/ 0 w 8386763"/>
              <a:gd name="connsiteY0" fmla="*/ 0 h 5948363"/>
              <a:gd name="connsiteX1" fmla="*/ 8386763 w 8386763"/>
              <a:gd name="connsiteY1" fmla="*/ 0 h 5948363"/>
              <a:gd name="connsiteX2" fmla="*/ 8386763 w 8386763"/>
              <a:gd name="connsiteY2" fmla="*/ 4798847 h 5948363"/>
              <a:gd name="connsiteX3" fmla="*/ 7237247 w 8386763"/>
              <a:gd name="connsiteY3" fmla="*/ 5948363 h 5948363"/>
              <a:gd name="connsiteX4" fmla="*/ 0 w 8386763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86763" h="5948363">
                <a:moveTo>
                  <a:pt x="0" y="0"/>
                </a:moveTo>
                <a:lnTo>
                  <a:pt x="8386763" y="0"/>
                </a:lnTo>
                <a:lnTo>
                  <a:pt x="8386763" y="4798847"/>
                </a:lnTo>
                <a:lnTo>
                  <a:pt x="7237247" y="5948363"/>
                </a:lnTo>
                <a:lnTo>
                  <a:pt x="0" y="5948363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GB" dirty="0"/>
              <a:t>Click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744408951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tailed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D2372C9-E215-1003-F25D-B5AE1F568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292" y="701874"/>
            <a:ext cx="2450237" cy="715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ayout template for detailed char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80619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tailed layou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D2372C9-E215-1003-F25D-B5AE1F568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000" y="701874"/>
            <a:ext cx="2451600" cy="715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ayout template for detailed charts</a:t>
            </a:r>
            <a:endParaRPr lang="en-GB" dirty="0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98D0F1BA-16E4-EAD4-97CD-9005E8F027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5975" y="701675"/>
            <a:ext cx="8393113" cy="4959350"/>
          </a:xfrm>
          <a:prstGeom prst="rect">
            <a:avLst/>
          </a:prstGeom>
        </p:spPr>
        <p:txBody>
          <a:bodyPr numCol="3" spcCol="288000"/>
          <a:lstStyle>
            <a:lvl1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/>
            </a:lvl1pPr>
            <a:lvl2pPr marL="180975" indent="-180975"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/>
            </a:lvl3pPr>
            <a:lvl4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1200"/>
            </a:lvl4pPr>
            <a:lvl5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1200"/>
            </a:lvl5pPr>
          </a:lstStyle>
          <a:p>
            <a:pPr lvl="0"/>
            <a:r>
              <a:rPr lang="en-US" dirty="0"/>
              <a:t>Three column continuous text box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763615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strip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C05822E-F8EF-0B26-EE8C-294CF5859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3" y="701874"/>
            <a:ext cx="7051812" cy="71566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ceholder">
            <a:extLst>
              <a:ext uri="{FF2B5EF4-FFF2-40B4-BE49-F238E27FC236}">
                <a16:creationId xmlns:a16="http://schemas.microsoft.com/office/drawing/2014/main" id="{65EFF5B5-9A6C-6AFB-ABBA-564B4F8855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9263" y="1809749"/>
            <a:ext cx="5499100" cy="4138613"/>
          </a:xfrm>
          <a:prstGeom prst="rect">
            <a:avLst/>
          </a:prstGeom>
        </p:spPr>
        <p:txBody>
          <a:bodyPr numCol="2" spcCol="288000"/>
          <a:lstStyle>
            <a:lvl1pPr marL="0" indent="0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Font typeface="Wingdings 2" panose="05020102010507070707" pitchFamily="18" charset="2"/>
              <a:buNone/>
              <a:defRPr sz="1200"/>
            </a:lvl1pPr>
            <a:lvl2pPr marL="180975" indent="-180975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defRPr sz="1200"/>
            </a:lvl3pPr>
            <a:lvl4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1200"/>
            </a:lvl4pPr>
            <a:lvl5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Picture Placeholder">
            <a:extLst>
              <a:ext uri="{FF2B5EF4-FFF2-40B4-BE49-F238E27FC236}">
                <a16:creationId xmlns:a16="http://schemas.microsoft.com/office/drawing/2014/main" id="{1F1C54D2-D2EE-04BE-5F32-CEBA48FF0D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00450" y="1"/>
            <a:ext cx="8591550" cy="6858000"/>
          </a:xfrm>
          <a:custGeom>
            <a:avLst/>
            <a:gdLst>
              <a:gd name="connsiteX0" fmla="*/ 6857996 w 8591550"/>
              <a:gd name="connsiteY0" fmla="*/ 0 h 6858000"/>
              <a:gd name="connsiteX1" fmla="*/ 8591550 w 8591550"/>
              <a:gd name="connsiteY1" fmla="*/ 0 h 6858000"/>
              <a:gd name="connsiteX2" fmla="*/ 8591550 w 8591550"/>
              <a:gd name="connsiteY2" fmla="*/ 3852860 h 6858000"/>
              <a:gd name="connsiteX3" fmla="*/ 5586410 w 8591550"/>
              <a:gd name="connsiteY3" fmla="*/ 6858000 h 6858000"/>
              <a:gd name="connsiteX4" fmla="*/ 0 w 8591550"/>
              <a:gd name="connsiteY4" fmla="*/ 6858000 h 6858000"/>
              <a:gd name="connsiteX5" fmla="*/ 0 w 8591550"/>
              <a:gd name="connsiteY5" fmla="*/ 68579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91550" h="6858000">
                <a:moveTo>
                  <a:pt x="6857996" y="0"/>
                </a:moveTo>
                <a:lnTo>
                  <a:pt x="8591550" y="0"/>
                </a:lnTo>
                <a:lnTo>
                  <a:pt x="8591550" y="3852860"/>
                </a:lnTo>
                <a:lnTo>
                  <a:pt x="5586410" y="6858000"/>
                </a:lnTo>
                <a:lnTo>
                  <a:pt x="0" y="6858000"/>
                </a:lnTo>
                <a:lnTo>
                  <a:pt x="0" y="6857996"/>
                </a:lnTo>
                <a:close/>
              </a:path>
            </a:pathLst>
          </a:custGeom>
          <a:pattFill prst="dk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 algn="ctr"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Classification">
            <a:extLst>
              <a:ext uri="{FF2B5EF4-FFF2-40B4-BE49-F238E27FC236}">
                <a16:creationId xmlns:a16="http://schemas.microsoft.com/office/drawing/2014/main" id="{2A357368-6911-F108-4C72-BC6BCD6C22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9" y="6374219"/>
            <a:ext cx="1925190" cy="24622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| Research Stimulus | Final | Strictly Confidential</a:t>
            </a:r>
          </a:p>
        </p:txBody>
      </p:sp>
      <p:pic>
        <p:nvPicPr>
          <p:cNvPr id="6" name="Graphic 3">
            <a:extLst>
              <a:ext uri="{FF2B5EF4-FFF2-40B4-BE49-F238E27FC236}">
                <a16:creationId xmlns:a16="http://schemas.microsoft.com/office/drawing/2014/main" id="{B68F484B-5409-16AC-B14E-D3D218BE83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886" y="6279780"/>
            <a:ext cx="1037788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814835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4ADF9F4-0984-90BB-D24E-468E60FF0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Biographies / Team Slide</a:t>
            </a:r>
            <a:endParaRPr lang="en-GB" dirty="0"/>
          </a:p>
        </p:txBody>
      </p:sp>
      <p:sp>
        <p:nvSpPr>
          <p:cNvPr id="16" name="Name 1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2913" y="1736725"/>
            <a:ext cx="1573660" cy="45820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4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1D022528-6EBA-C4A0-BEB6-F9204610C8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55613" y="232385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Placeholder 1">
            <a:extLst>
              <a:ext uri="{FF2B5EF4-FFF2-40B4-BE49-F238E27FC236}">
                <a16:creationId xmlns:a16="http://schemas.microsoft.com/office/drawing/2014/main" id="{A81DA3D4-EF88-48E1-A722-44D4D0FA10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2913" y="4045998"/>
            <a:ext cx="1573660" cy="1903877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0" name="Name 2">
            <a:extLst>
              <a:ext uri="{FF2B5EF4-FFF2-40B4-BE49-F238E27FC236}">
                <a16:creationId xmlns:a16="http://schemas.microsoft.com/office/drawing/2014/main" id="{71613F17-97E2-4491-9EF3-F01FFDE6E8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79122" y="1736725"/>
            <a:ext cx="1573660" cy="45820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4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BCAD9EA5-E736-4B69-C6BA-B70AA49A3D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390052" y="23338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Placeholder 2">
            <a:extLst>
              <a:ext uri="{FF2B5EF4-FFF2-40B4-BE49-F238E27FC236}">
                <a16:creationId xmlns:a16="http://schemas.microsoft.com/office/drawing/2014/main" id="{6F22912B-7D36-4077-8BFB-FDA6B7BA0EA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79892" y="4045998"/>
            <a:ext cx="1573660" cy="1903877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4" name="Name 3">
            <a:extLst>
              <a:ext uri="{FF2B5EF4-FFF2-40B4-BE49-F238E27FC236}">
                <a16:creationId xmlns:a16="http://schemas.microsoft.com/office/drawing/2014/main" id="{4ACD92D7-D8E5-4F1B-8FF3-A92BC817BD5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15331" y="1736725"/>
            <a:ext cx="1573660" cy="45820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4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357D52C6-2870-E30F-D4E4-6FE20FD88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324491" y="23338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5" name="Placeholder 3">
            <a:extLst>
              <a:ext uri="{FF2B5EF4-FFF2-40B4-BE49-F238E27FC236}">
                <a16:creationId xmlns:a16="http://schemas.microsoft.com/office/drawing/2014/main" id="{459EAA34-4CBD-4836-8FB9-E4972A4D470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16871" y="4045998"/>
            <a:ext cx="1573660" cy="1903877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27" name="Name 4">
            <a:extLst>
              <a:ext uri="{FF2B5EF4-FFF2-40B4-BE49-F238E27FC236}">
                <a16:creationId xmlns:a16="http://schemas.microsoft.com/office/drawing/2014/main" id="{95119930-DF3D-4F95-9821-DD803BEC06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51540" y="1748727"/>
            <a:ext cx="1573660" cy="45820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4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074A36C6-E21E-40D7-90B6-E4EE4ED33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258930" y="23338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Placeholder 4">
            <a:extLst>
              <a:ext uri="{FF2B5EF4-FFF2-40B4-BE49-F238E27FC236}">
                <a16:creationId xmlns:a16="http://schemas.microsoft.com/office/drawing/2014/main" id="{F1EC47F3-3364-4097-9549-A48AAC2F521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3850" y="4058000"/>
            <a:ext cx="1573660" cy="1903877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30" name="Name 5">
            <a:extLst>
              <a:ext uri="{FF2B5EF4-FFF2-40B4-BE49-F238E27FC236}">
                <a16:creationId xmlns:a16="http://schemas.microsoft.com/office/drawing/2014/main" id="{8BC3BB59-8297-4139-8EEB-7AA6A36205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87749" y="1748727"/>
            <a:ext cx="1573660" cy="45820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4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F63214CF-5EA4-B6FC-063D-D3496667EF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193369" y="23338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Placeholder 5">
            <a:extLst>
              <a:ext uri="{FF2B5EF4-FFF2-40B4-BE49-F238E27FC236}">
                <a16:creationId xmlns:a16="http://schemas.microsoft.com/office/drawing/2014/main" id="{3539E75B-AA24-4E49-B21A-8AAB8E62C41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90829" y="4058000"/>
            <a:ext cx="1573660" cy="1903877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  <p:sp>
        <p:nvSpPr>
          <p:cNvPr id="33" name="Name 6">
            <a:extLst>
              <a:ext uri="{FF2B5EF4-FFF2-40B4-BE49-F238E27FC236}">
                <a16:creationId xmlns:a16="http://schemas.microsoft.com/office/drawing/2014/main" id="{3F21806D-0731-464D-A660-3F50C5CAF67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123957" y="1735212"/>
            <a:ext cx="1573660" cy="45820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 sz="1400" b="1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/>
              <a:t>First name</a:t>
            </a:r>
          </a:p>
          <a:p>
            <a:pPr lvl="1"/>
            <a:r>
              <a:rPr lang="en-GB" dirty="0"/>
              <a:t>Last nam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95C42D8A-99F6-7643-7FD4-13CD14652A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0127809" y="2333862"/>
            <a:ext cx="1573660" cy="1573200"/>
          </a:xfrm>
          <a:custGeom>
            <a:avLst/>
            <a:gdLst>
              <a:gd name="connsiteX0" fmla="*/ 0 w 1573660"/>
              <a:gd name="connsiteY0" fmla="*/ 0 h 1573200"/>
              <a:gd name="connsiteX1" fmla="*/ 1573660 w 1573660"/>
              <a:gd name="connsiteY1" fmla="*/ 0 h 1573200"/>
              <a:gd name="connsiteX2" fmla="*/ 1573660 w 1573660"/>
              <a:gd name="connsiteY2" fmla="*/ 1349792 h 1573200"/>
              <a:gd name="connsiteX3" fmla="*/ 1350252 w 1573660"/>
              <a:gd name="connsiteY3" fmla="*/ 1573200 h 1573200"/>
              <a:gd name="connsiteX4" fmla="*/ 0 w 1573660"/>
              <a:gd name="connsiteY4" fmla="*/ 1573200 h 157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3660" h="1573200">
                <a:moveTo>
                  <a:pt x="0" y="0"/>
                </a:moveTo>
                <a:lnTo>
                  <a:pt x="1573660" y="0"/>
                </a:lnTo>
                <a:lnTo>
                  <a:pt x="1573660" y="1349792"/>
                </a:lnTo>
                <a:lnTo>
                  <a:pt x="1350252" y="1573200"/>
                </a:lnTo>
                <a:lnTo>
                  <a:pt x="0" y="15732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Placeholder 6">
            <a:extLst>
              <a:ext uri="{FF2B5EF4-FFF2-40B4-BE49-F238E27FC236}">
                <a16:creationId xmlns:a16="http://schemas.microsoft.com/office/drawing/2014/main" id="{E534BACD-3BA5-4149-ABE3-6C66E16EC23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127809" y="4044485"/>
            <a:ext cx="1573660" cy="1903877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Barlow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Title and brief role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10124638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/Statement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024DFEA-2014-1751-E480-8A66CDCDA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999" y="1898850"/>
            <a:ext cx="7010201" cy="715669"/>
          </a:xfrm>
        </p:spPr>
        <p:txBody>
          <a:bodyPr/>
          <a:lstStyle>
            <a:lvl1pPr>
              <a:lnSpc>
                <a:spcPct val="100000"/>
              </a:lnSpc>
              <a:defRPr sz="32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Quote or statement here – </a:t>
            </a:r>
            <a:br>
              <a:rPr lang="en-US" dirty="0"/>
            </a:br>
            <a:r>
              <a:rPr lang="en-US" dirty="0"/>
              <a:t>only black text is fully accessible on teal, green or orange</a:t>
            </a:r>
            <a:endParaRPr lang="en-GB" dirty="0"/>
          </a:p>
        </p:txBody>
      </p:sp>
      <p:sp>
        <p:nvSpPr>
          <p:cNvPr id="4" name="Triangle">
            <a:extLst>
              <a:ext uri="{FF2B5EF4-FFF2-40B4-BE49-F238E27FC236}">
                <a16:creationId xmlns:a16="http://schemas.microsoft.com/office/drawing/2014/main" id="{AE7DDF0E-41B4-9738-7FF8-611372687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9281601" y="3947601"/>
            <a:ext cx="2910399" cy="2910399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2" name="Classification">
            <a:extLst>
              <a:ext uri="{FF2B5EF4-FFF2-40B4-BE49-F238E27FC236}">
                <a16:creationId xmlns:a16="http://schemas.microsoft.com/office/drawing/2014/main" id="{1C5B0F71-0889-8AA3-1424-358FEF2E8A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Research Stimulus | Final | Strictly Confidential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E4B9BBA-B9E4-5FF2-9CD0-525951208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pic>
        <p:nvPicPr>
          <p:cNvPr id="3" name="Graphic 3">
            <a:extLst>
              <a:ext uri="{FF2B5EF4-FFF2-40B4-BE49-F238E27FC236}">
                <a16:creationId xmlns:a16="http://schemas.microsoft.com/office/drawing/2014/main" id="{D1A21A86-5A2F-3F09-A01B-FD5B15EFD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886" y="6279780"/>
            <a:ext cx="1037788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8293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Header">
            <a:extLst>
              <a:ext uri="{FF2B5EF4-FFF2-40B4-BE49-F238E27FC236}">
                <a16:creationId xmlns:a16="http://schemas.microsoft.com/office/drawing/2014/main" id="{B80FCDC1-4ADD-40AF-8A4F-44573B125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ceholder 1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5456880" cy="386131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00"/>
              </a:spcBef>
              <a:defRPr sz="14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1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0" name="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3992" y="1808163"/>
            <a:ext cx="5456880" cy="386131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00"/>
              </a:spcBef>
              <a:defRPr sz="14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defRPr lang="en-GB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591121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26B43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tyle 1">
    <p:bg>
      <p:bgPr>
        <a:gradFill>
          <a:gsLst>
            <a:gs pos="24000">
              <a:schemeClr val="accent1">
                <a:lumMod val="35000"/>
              </a:schemeClr>
            </a:gs>
            <a:gs pos="100000">
              <a:schemeClr val="accent1"/>
            </a:gs>
          </a:gsLst>
          <a:lin ang="135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Quote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8550" y="2313873"/>
            <a:ext cx="7524198" cy="263659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5" name="Triangle">
            <a:extLst>
              <a:ext uri="{FF2B5EF4-FFF2-40B4-BE49-F238E27FC236}">
                <a16:creationId xmlns:a16="http://schemas.microsoft.com/office/drawing/2014/main" id="{92369341-2A1C-B6BE-3FEC-A2BEC04F6A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 rot="5400000">
            <a:off x="0" y="0"/>
            <a:ext cx="3124200" cy="31242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9" name="Classification">
            <a:extLst>
              <a:ext uri="{FF2B5EF4-FFF2-40B4-BE49-F238E27FC236}">
                <a16:creationId xmlns:a16="http://schemas.microsoft.com/office/drawing/2014/main" id="{87AAF9A5-97ED-3121-02DE-E041C61DC0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Research Stimulus | Final | Strictly Confidential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37E2842-3D57-CC10-EC4F-9181EFE34C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pic>
        <p:nvPicPr>
          <p:cNvPr id="2" name="Graphic 3">
            <a:extLst>
              <a:ext uri="{FF2B5EF4-FFF2-40B4-BE49-F238E27FC236}">
                <a16:creationId xmlns:a16="http://schemas.microsoft.com/office/drawing/2014/main" id="{14DC815B-AF3F-7F79-F89C-19983C445C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887" y="6279780"/>
            <a:ext cx="1037786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904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00">
          <p15:clr>
            <a:srgbClr val="F26B43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ty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50000" y="811950"/>
            <a:ext cx="5407103" cy="3742438"/>
          </a:xfrm>
        </p:spPr>
        <p:txBody>
          <a:bodyPr anchor="t"/>
          <a:lstStyle>
            <a:lvl1pPr>
              <a:defRPr sz="360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Summary text background image (text can be recoloured depending on image colour)</a:t>
            </a:r>
            <a:endParaRPr lang="fr-FR" dirty="0"/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A8B69072-8F91-57EB-1C5E-B1807F8440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733800 h 6858000"/>
              <a:gd name="connsiteX3" fmla="*/ 9067800 w 12192000"/>
              <a:gd name="connsiteY3" fmla="*/ 6858000 h 6858000"/>
              <a:gd name="connsiteX4" fmla="*/ 0 w 121920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733800"/>
                </a:lnTo>
                <a:lnTo>
                  <a:pt x="9067800" y="6858000"/>
                </a:lnTo>
                <a:lnTo>
                  <a:pt x="0" y="6858000"/>
                </a:lnTo>
                <a:close/>
              </a:path>
            </a:pathLst>
          </a:custGeom>
          <a:pattFill prst="dk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2520000" rtlCol="0" anchor="b">
            <a:noAutofit/>
          </a:bodyPr>
          <a:lstStyle>
            <a:lvl1pPr>
              <a:defRPr lang="en-GB" dirty="0"/>
            </a:lvl1pPr>
          </a:lstStyle>
          <a:p>
            <a:pPr lvl="0" algn="ctr"/>
            <a:r>
              <a:rPr lang="en-GB" dirty="0"/>
              <a:t>Click icon in centre to add image</a:t>
            </a:r>
            <a:br>
              <a:rPr lang="en-GB" dirty="0"/>
            </a:br>
            <a:r>
              <a:rPr lang="en-GB" dirty="0"/>
              <a:t>Send image to back so elements show on the page</a:t>
            </a:r>
          </a:p>
          <a:p>
            <a:pPr lvl="0" algn="ctr"/>
            <a:endParaRPr lang="en-GB" dirty="0"/>
          </a:p>
          <a:p>
            <a:pPr lvl="0" algn="ctr"/>
            <a:endParaRPr lang="en-GB" dirty="0"/>
          </a:p>
          <a:p>
            <a:pPr lvl="0" algn="ctr"/>
            <a:endParaRPr lang="en-GB" dirty="0"/>
          </a:p>
        </p:txBody>
      </p:sp>
      <p:pic>
        <p:nvPicPr>
          <p:cNvPr id="2" name="Graphic 3">
            <a:extLst>
              <a:ext uri="{FF2B5EF4-FFF2-40B4-BE49-F238E27FC236}">
                <a16:creationId xmlns:a16="http://schemas.microsoft.com/office/drawing/2014/main" id="{20A3F145-0990-45AB-79A5-EB7AE362A6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886" y="6279780"/>
            <a:ext cx="1037788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8882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nging box title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95DCA5B4-84E6-C16E-3495-F7C93535FD02}"/>
              </a:ext>
            </a:extLst>
          </p:cNvPr>
          <p:cNvSpPr/>
          <p:nvPr userDrawn="1"/>
        </p:nvSpPr>
        <p:spPr>
          <a:xfrm>
            <a:off x="0" y="0"/>
            <a:ext cx="12298680" cy="6858000"/>
          </a:xfrm>
          <a:custGeom>
            <a:avLst/>
            <a:gdLst>
              <a:gd name="connsiteX0" fmla="*/ 0 w 12298680"/>
              <a:gd name="connsiteY0" fmla="*/ 0 h 6858000"/>
              <a:gd name="connsiteX1" fmla="*/ 452513 w 12298680"/>
              <a:gd name="connsiteY1" fmla="*/ 0 h 6858000"/>
              <a:gd name="connsiteX2" fmla="*/ 452513 w 12298680"/>
              <a:gd name="connsiteY2" fmla="*/ 5995686 h 6858000"/>
              <a:gd name="connsiteX3" fmla="*/ 3403129 w 12298680"/>
              <a:gd name="connsiteY3" fmla="*/ 5995686 h 6858000"/>
              <a:gd name="connsiteX4" fmla="*/ 3993266 w 12298680"/>
              <a:gd name="connsiteY4" fmla="*/ 5405549 h 6858000"/>
              <a:gd name="connsiteX5" fmla="*/ 3993266 w 12298680"/>
              <a:gd name="connsiteY5" fmla="*/ 0 h 6858000"/>
              <a:gd name="connsiteX6" fmla="*/ 12298680 w 12298680"/>
              <a:gd name="connsiteY6" fmla="*/ 0 h 6858000"/>
              <a:gd name="connsiteX7" fmla="*/ 12298680 w 12298680"/>
              <a:gd name="connsiteY7" fmla="*/ 6858000 h 6858000"/>
              <a:gd name="connsiteX8" fmla="*/ 0 w 1229868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98680" h="6858000">
                <a:moveTo>
                  <a:pt x="0" y="0"/>
                </a:moveTo>
                <a:lnTo>
                  <a:pt x="452513" y="0"/>
                </a:lnTo>
                <a:lnTo>
                  <a:pt x="452513" y="5995686"/>
                </a:lnTo>
                <a:lnTo>
                  <a:pt x="3403129" y="5995686"/>
                </a:lnTo>
                <a:lnTo>
                  <a:pt x="3993266" y="5405549"/>
                </a:lnTo>
                <a:lnTo>
                  <a:pt x="3993266" y="0"/>
                </a:lnTo>
                <a:lnTo>
                  <a:pt x="12298680" y="0"/>
                </a:lnTo>
                <a:lnTo>
                  <a:pt x="122986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8A895AA-9637-BA9D-6A51-32AABDD1EEE6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/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/>
          </a:p>
        </p:txBody>
      </p:sp>
      <p:sp>
        <p:nvSpPr>
          <p:cNvPr id="10" name="Classification">
            <a:extLst>
              <a:ext uri="{FF2B5EF4-FFF2-40B4-BE49-F238E27FC236}">
                <a16:creationId xmlns:a16="http://schemas.microsoft.com/office/drawing/2014/main" id="{FDA94CA4-3E8E-2820-45B1-D61F9D06C3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tx1"/>
                </a:solidFill>
                <a:effectLst/>
              </a:rPr>
              <a:t>MarSoc</a:t>
            </a:r>
            <a:r>
              <a:rPr lang="en-GB" sz="800" dirty="0">
                <a:solidFill>
                  <a:schemeClr val="tx1"/>
                </a:solidFill>
                <a:effectLst/>
              </a:rPr>
              <a:t> Awards Showcase | Jan 2024 | Final | Strictly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011884-C2D5-14CD-9848-37C5CB013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142" y="701874"/>
            <a:ext cx="3149601" cy="715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7ACA827-57DF-1928-4CF7-75996324CC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3263" y="6183032"/>
            <a:ext cx="1413124" cy="49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0992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A0EF3274-3DAF-E90F-9AC0-22CB0B6461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53031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">
            <a:extLst>
              <a:ext uri="{FF2B5EF4-FFF2-40B4-BE49-F238E27FC236}">
                <a16:creationId xmlns:a16="http://schemas.microsoft.com/office/drawing/2014/main" id="{F33785E0-DBDC-A691-50F6-D30517E18D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Full bleed video layout</a:t>
            </a:r>
          </a:p>
        </p:txBody>
      </p:sp>
    </p:spTree>
    <p:extLst>
      <p:ext uri="{BB962C8B-B14F-4D97-AF65-F5344CB8AC3E}">
        <p14:creationId xmlns:p14="http://schemas.microsoft.com/office/powerpoint/2010/main" val="9366185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Header">
            <a:extLst>
              <a:ext uri="{FF2B5EF4-FFF2-40B4-BE49-F238E27FC236}">
                <a16:creationId xmlns:a16="http://schemas.microsoft.com/office/drawing/2014/main" id="{4E7DB10B-B766-4A3C-BABF-17B2D91DB2C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1" y="1792800"/>
            <a:ext cx="2591650" cy="38766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00"/>
              </a:spcBef>
              <a:defRPr sz="1200">
                <a:solidFill>
                  <a:schemeClr val="tx1"/>
                </a:solidFill>
              </a:defRPr>
            </a:lvl1pPr>
            <a:lvl2pPr marL="180975" indent="-180975">
              <a:spcBef>
                <a:spcPts val="400"/>
              </a:spcBef>
              <a:buSzPct val="100000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400"/>
              </a:spcBef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180975" lvl="1" indent="-180975" algn="l" defTabSz="914400" rtl="0" eaLnBrk="1" latinLnBrk="0" hangingPunct="1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anose="020B0604020202020204" pitchFamily="34" charset="0"/>
              <a:buChar char="•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8" name="Chart / Diagram">
            <a:extLst>
              <a:ext uri="{FF2B5EF4-FFF2-40B4-BE49-F238E27FC236}">
                <a16:creationId xmlns:a16="http://schemas.microsoft.com/office/drawing/2014/main" id="{08D894DB-FF91-4B8E-8C44-72A8DC9940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355975" y="1792800"/>
            <a:ext cx="8410071" cy="3877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diagram or visual content here</a:t>
            </a:r>
          </a:p>
        </p:txBody>
      </p:sp>
      <p:sp>
        <p:nvSpPr>
          <p:cNvPr id="11" name="Base &amp; Source">
            <a:extLst>
              <a:ext uri="{FF2B5EF4-FFF2-40B4-BE49-F238E27FC236}">
                <a16:creationId xmlns:a16="http://schemas.microsoft.com/office/drawing/2014/main" id="{C52F8B06-1F56-44E1-9BCB-34E6B05490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2897" y="5823783"/>
            <a:ext cx="11277975" cy="124906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marL="0" indent="0" algn="r">
              <a:buNone/>
              <a:defRPr sz="800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Base and source info (delete if not necessary)</a:t>
            </a:r>
          </a:p>
        </p:txBody>
      </p:sp>
    </p:spTree>
    <p:extLst>
      <p:ext uri="{BB962C8B-B14F-4D97-AF65-F5344CB8AC3E}">
        <p14:creationId xmlns:p14="http://schemas.microsoft.com/office/powerpoint/2010/main" val="307276469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splay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6D97C3-1B7F-5C9F-E63F-96F1A14B6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624" y="1092494"/>
            <a:ext cx="5391605" cy="715669"/>
          </a:xfrm>
        </p:spPr>
        <p:txBody>
          <a:bodyPr/>
          <a:lstStyle>
            <a:lvl1pPr>
              <a:defRPr sz="4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433BB7AA-54DD-4BAB-0FD5-D287A85CE4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3494989"/>
            <a:ext cx="3551238" cy="12747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Optional additional information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67F8163F-D370-5C4C-500A-7D576C590B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905000" y="0"/>
            <a:ext cx="10287001" cy="6858000"/>
          </a:xfrm>
          <a:custGeom>
            <a:avLst/>
            <a:gdLst>
              <a:gd name="connsiteX0" fmla="*/ 6858000 w 10287001"/>
              <a:gd name="connsiteY0" fmla="*/ 0 h 6858000"/>
              <a:gd name="connsiteX1" fmla="*/ 10287001 w 10287001"/>
              <a:gd name="connsiteY1" fmla="*/ 0 h 6858000"/>
              <a:gd name="connsiteX2" fmla="*/ 10287001 w 10287001"/>
              <a:gd name="connsiteY2" fmla="*/ 3467099 h 6858000"/>
              <a:gd name="connsiteX3" fmla="*/ 6896100 w 10287001"/>
              <a:gd name="connsiteY3" fmla="*/ 6858000 h 6858000"/>
              <a:gd name="connsiteX4" fmla="*/ 0 w 1028700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87001" h="6858000">
                <a:moveTo>
                  <a:pt x="6858000" y="0"/>
                </a:moveTo>
                <a:lnTo>
                  <a:pt x="10287001" y="0"/>
                </a:lnTo>
                <a:lnTo>
                  <a:pt x="10287001" y="3467099"/>
                </a:lnTo>
                <a:lnTo>
                  <a:pt x="6896100" y="6858000"/>
                </a:lnTo>
                <a:lnTo>
                  <a:pt x="0" y="6858000"/>
                </a:lnTo>
                <a:close/>
              </a:path>
            </a:pathLst>
          </a:custGeom>
          <a:pattFill prst="dkVert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lassification">
            <a:extLst>
              <a:ext uri="{FF2B5EF4-FFF2-40B4-BE49-F238E27FC236}">
                <a16:creationId xmlns:a16="http://schemas.microsoft.com/office/drawing/2014/main" id="{5588E510-0F0D-A23C-EE3A-1E228E499C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374219"/>
            <a:ext cx="1695772" cy="24622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| Research Stimulus | Final | Strictly 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5D4A6E0-DB31-F3B0-D1D4-84119B9769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887" y="6279780"/>
            <a:ext cx="1037786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468252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nging box 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063580A-EAC7-6E57-6010-5EE06037E6CB}"/>
              </a:ext>
            </a:extLst>
          </p:cNvPr>
          <p:cNvSpPr/>
          <p:nvPr userDrawn="1"/>
        </p:nvSpPr>
        <p:spPr>
          <a:xfrm>
            <a:off x="0" y="0"/>
            <a:ext cx="12298680" cy="6858000"/>
          </a:xfrm>
          <a:custGeom>
            <a:avLst/>
            <a:gdLst>
              <a:gd name="connsiteX0" fmla="*/ 0 w 12298680"/>
              <a:gd name="connsiteY0" fmla="*/ 0 h 6858000"/>
              <a:gd name="connsiteX1" fmla="*/ 452513 w 12298680"/>
              <a:gd name="connsiteY1" fmla="*/ 0 h 6858000"/>
              <a:gd name="connsiteX2" fmla="*/ 452513 w 12298680"/>
              <a:gd name="connsiteY2" fmla="*/ 5995686 h 6858000"/>
              <a:gd name="connsiteX3" fmla="*/ 3403129 w 12298680"/>
              <a:gd name="connsiteY3" fmla="*/ 5995686 h 6858000"/>
              <a:gd name="connsiteX4" fmla="*/ 3993266 w 12298680"/>
              <a:gd name="connsiteY4" fmla="*/ 5405549 h 6858000"/>
              <a:gd name="connsiteX5" fmla="*/ 3993266 w 12298680"/>
              <a:gd name="connsiteY5" fmla="*/ 0 h 6858000"/>
              <a:gd name="connsiteX6" fmla="*/ 12298680 w 12298680"/>
              <a:gd name="connsiteY6" fmla="*/ 0 h 6858000"/>
              <a:gd name="connsiteX7" fmla="*/ 12298680 w 12298680"/>
              <a:gd name="connsiteY7" fmla="*/ 6858000 h 6858000"/>
              <a:gd name="connsiteX8" fmla="*/ 0 w 1229868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98680" h="6858000">
                <a:moveTo>
                  <a:pt x="0" y="0"/>
                </a:moveTo>
                <a:lnTo>
                  <a:pt x="452513" y="0"/>
                </a:lnTo>
                <a:lnTo>
                  <a:pt x="452513" y="5995686"/>
                </a:lnTo>
                <a:lnTo>
                  <a:pt x="3403129" y="5995686"/>
                </a:lnTo>
                <a:lnTo>
                  <a:pt x="3993266" y="5405549"/>
                </a:lnTo>
                <a:lnTo>
                  <a:pt x="3993266" y="0"/>
                </a:lnTo>
                <a:lnTo>
                  <a:pt x="12298680" y="0"/>
                </a:lnTo>
                <a:lnTo>
                  <a:pt x="122986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011884-C2D5-14CD-9848-37C5CB013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142" y="701874"/>
            <a:ext cx="3149601" cy="715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73E53EB-3CF7-23AB-A106-C20DD2520C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2288" y="701675"/>
            <a:ext cx="7416800" cy="4959350"/>
          </a:xfrm>
        </p:spPr>
        <p:txBody>
          <a:bodyPr numCol="1" spcCol="288000"/>
          <a:lstStyle>
            <a:lvl1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1pPr>
            <a:lvl2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2pPr>
            <a:lvl3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3pPr>
            <a:lvl4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4pPr>
            <a:lvl5pPr>
              <a:lnSpc>
                <a:spcPct val="120000"/>
              </a:lnSpc>
              <a:spcBef>
                <a:spcPts val="40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CA27D4-4DF4-8FC8-3F9B-1A76440CE057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/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/>
          </a:p>
        </p:txBody>
      </p:sp>
      <p:sp>
        <p:nvSpPr>
          <p:cNvPr id="8" name="Classification">
            <a:extLst>
              <a:ext uri="{FF2B5EF4-FFF2-40B4-BE49-F238E27FC236}">
                <a16:creationId xmlns:a16="http://schemas.microsoft.com/office/drawing/2014/main" id="{B4AC6576-1CFA-49E3-6518-BDBEF92D4E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tx1"/>
                </a:solidFill>
                <a:effectLst/>
              </a:rPr>
              <a:t>MarSoc</a:t>
            </a:r>
            <a:r>
              <a:rPr lang="en-GB" sz="800" dirty="0">
                <a:solidFill>
                  <a:schemeClr val="tx1"/>
                </a:solidFill>
                <a:effectLst/>
              </a:rPr>
              <a:t> Awards Showcase | Jan 2024 | Final | Strictly Confidenti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26B7CF-E6FB-AB96-A56F-8001A84452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83263" y="6183032"/>
            <a:ext cx="1413124" cy="49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4958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images_3_summari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CB89052-8427-7132-D9A8-40720C3CFB0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A19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dirty="0">
              <a:solidFill>
                <a:schemeClr val="tx1"/>
              </a:solidFill>
            </a:endParaRP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F7598694-721D-C499-32B8-2559553463B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0000" y="1792702"/>
            <a:ext cx="3524250" cy="2140354"/>
          </a:xfrm>
          <a:custGeom>
            <a:avLst/>
            <a:gdLst>
              <a:gd name="connsiteX0" fmla="*/ 0 w 3524250"/>
              <a:gd name="connsiteY0" fmla="*/ 0 h 2140354"/>
              <a:gd name="connsiteX1" fmla="*/ 3524250 w 3524250"/>
              <a:gd name="connsiteY1" fmla="*/ 0 h 2140354"/>
              <a:gd name="connsiteX2" fmla="*/ 3524250 w 3524250"/>
              <a:gd name="connsiteY2" fmla="*/ 1669718 h 2140354"/>
              <a:gd name="connsiteX3" fmla="*/ 3053614 w 3524250"/>
              <a:gd name="connsiteY3" fmla="*/ 2140354 h 2140354"/>
              <a:gd name="connsiteX4" fmla="*/ 0 w 3524250"/>
              <a:gd name="connsiteY4" fmla="*/ 2140354 h 2140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4250" h="2140354">
                <a:moveTo>
                  <a:pt x="0" y="0"/>
                </a:moveTo>
                <a:lnTo>
                  <a:pt x="3524250" y="0"/>
                </a:lnTo>
                <a:lnTo>
                  <a:pt x="3524250" y="1669718"/>
                </a:lnTo>
                <a:lnTo>
                  <a:pt x="3053614" y="2140354"/>
                </a:lnTo>
                <a:lnTo>
                  <a:pt x="0" y="2140354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GB" dirty="0"/>
              <a:t>Insert image here</a:t>
            </a:r>
          </a:p>
        </p:txBody>
      </p:sp>
      <p:sp>
        <p:nvSpPr>
          <p:cNvPr id="3" name="Placeholder 1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4113075"/>
            <a:ext cx="3524400" cy="1835288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z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D497C279-EB05-83B6-CAFE-F19E9494173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36915" y="1792702"/>
            <a:ext cx="3524250" cy="2140354"/>
          </a:xfrm>
          <a:custGeom>
            <a:avLst/>
            <a:gdLst>
              <a:gd name="connsiteX0" fmla="*/ 0 w 3524250"/>
              <a:gd name="connsiteY0" fmla="*/ 0 h 2140354"/>
              <a:gd name="connsiteX1" fmla="*/ 3524250 w 3524250"/>
              <a:gd name="connsiteY1" fmla="*/ 0 h 2140354"/>
              <a:gd name="connsiteX2" fmla="*/ 3524250 w 3524250"/>
              <a:gd name="connsiteY2" fmla="*/ 1669718 h 2140354"/>
              <a:gd name="connsiteX3" fmla="*/ 3053614 w 3524250"/>
              <a:gd name="connsiteY3" fmla="*/ 2140354 h 2140354"/>
              <a:gd name="connsiteX4" fmla="*/ 0 w 3524250"/>
              <a:gd name="connsiteY4" fmla="*/ 2140354 h 2140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4250" h="2140354">
                <a:moveTo>
                  <a:pt x="0" y="0"/>
                </a:moveTo>
                <a:lnTo>
                  <a:pt x="3524250" y="0"/>
                </a:lnTo>
                <a:lnTo>
                  <a:pt x="3524250" y="1669718"/>
                </a:lnTo>
                <a:lnTo>
                  <a:pt x="3053614" y="2140354"/>
                </a:lnTo>
                <a:lnTo>
                  <a:pt x="0" y="2140354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GB" dirty="0"/>
              <a:t>Insert image here</a:t>
            </a:r>
          </a:p>
        </p:txBody>
      </p:sp>
      <p:sp>
        <p:nvSpPr>
          <p:cNvPr id="15" name="Placeholder 2">
            <a:extLst>
              <a:ext uri="{FF2B5EF4-FFF2-40B4-BE49-F238E27FC236}">
                <a16:creationId xmlns:a16="http://schemas.microsoft.com/office/drawing/2014/main" id="{2D6D46A2-3813-48AC-B44F-11FED09C960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336840" y="4113075"/>
            <a:ext cx="3524400" cy="1835288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436747DF-926E-3B9F-54BC-1491817508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4838" y="1792702"/>
            <a:ext cx="3524250" cy="2140354"/>
          </a:xfrm>
          <a:custGeom>
            <a:avLst/>
            <a:gdLst>
              <a:gd name="connsiteX0" fmla="*/ 0 w 3524250"/>
              <a:gd name="connsiteY0" fmla="*/ 0 h 2140354"/>
              <a:gd name="connsiteX1" fmla="*/ 3524250 w 3524250"/>
              <a:gd name="connsiteY1" fmla="*/ 0 h 2140354"/>
              <a:gd name="connsiteX2" fmla="*/ 3524250 w 3524250"/>
              <a:gd name="connsiteY2" fmla="*/ 1669718 h 2140354"/>
              <a:gd name="connsiteX3" fmla="*/ 3053614 w 3524250"/>
              <a:gd name="connsiteY3" fmla="*/ 2140354 h 2140354"/>
              <a:gd name="connsiteX4" fmla="*/ 0 w 3524250"/>
              <a:gd name="connsiteY4" fmla="*/ 2140354 h 2140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4250" h="2140354">
                <a:moveTo>
                  <a:pt x="0" y="0"/>
                </a:moveTo>
                <a:lnTo>
                  <a:pt x="3524250" y="0"/>
                </a:lnTo>
                <a:lnTo>
                  <a:pt x="3524250" y="1669718"/>
                </a:lnTo>
                <a:lnTo>
                  <a:pt x="3053614" y="2140354"/>
                </a:lnTo>
                <a:lnTo>
                  <a:pt x="0" y="2140354"/>
                </a:lnTo>
                <a:close/>
              </a:path>
            </a:pathLst>
          </a:cu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en-GB" dirty="0"/>
              <a:t>Insert image here</a:t>
            </a:r>
          </a:p>
        </p:txBody>
      </p:sp>
      <p:sp>
        <p:nvSpPr>
          <p:cNvPr id="16" name="Placeholder 3">
            <a:extLst>
              <a:ext uri="{FF2B5EF4-FFF2-40B4-BE49-F238E27FC236}">
                <a16:creationId xmlns:a16="http://schemas.microsoft.com/office/drawing/2014/main" id="{912710EB-D5BC-4555-8C11-D849D8A58199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8224838" y="4113075"/>
            <a:ext cx="3524400" cy="1835288"/>
          </a:xfrm>
        </p:spPr>
        <p:txBody>
          <a:bodyPr>
            <a:noAutofit/>
          </a:bodyPr>
          <a:lstStyle>
            <a:lvl1pPr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379921-B222-AEF2-4C24-F79AEBA1B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DC93700-768F-F0BD-FFA2-5E2889AAB11B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4" name="Classification">
            <a:extLst>
              <a:ext uri="{FF2B5EF4-FFF2-40B4-BE49-F238E27FC236}">
                <a16:creationId xmlns:a16="http://schemas.microsoft.com/office/drawing/2014/main" id="{7BC3E079-CD4E-AFD3-AEB4-D1848C22C0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FDD39CBD-2546-19C0-8143-8B4CE933A2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7692" y="6088589"/>
            <a:ext cx="1704266" cy="68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728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4320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ingle column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808163"/>
            <a:ext cx="11299088" cy="3861312"/>
          </a:xfrm>
        </p:spPr>
        <p:txBody>
          <a:bodyPr numCol="1" spcCol="288000">
            <a:noAutofit/>
          </a:bodyPr>
          <a:lstStyle>
            <a:lvl1pPr>
              <a:spcBef>
                <a:spcPts val="400"/>
              </a:spcBef>
              <a:defRPr sz="24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defRPr sz="2400">
                <a:solidFill>
                  <a:schemeClr val="bg1"/>
                </a:solidFill>
              </a:defRPr>
            </a:lvl2pPr>
            <a:lvl3pPr>
              <a:spcBef>
                <a:spcPts val="400"/>
              </a:spcBef>
              <a:defRPr sz="2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1429DE-4D63-DCEA-0E6E-B1E263115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ingle column layout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AA7685-C79C-C21F-A344-32CC624F8F20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5" name="Classification">
            <a:extLst>
              <a:ext uri="{FF2B5EF4-FFF2-40B4-BE49-F238E27FC236}">
                <a16:creationId xmlns:a16="http://schemas.microsoft.com/office/drawing/2014/main" id="{77A0CF32-CA7B-E30F-BB30-CC83E33850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63A686A4-25AE-0A42-511D-A528BBF931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7692" y="6088589"/>
            <a:ext cx="1704266" cy="68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6904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image" Target="../media/image13.png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er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11299088" cy="71566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GB" dirty="0"/>
              <a:t>Short slide title</a:t>
            </a:r>
          </a:p>
        </p:txBody>
      </p:sp>
      <p:sp>
        <p:nvSpPr>
          <p:cNvPr id="3" name="Placeholder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0000" y="1808163"/>
            <a:ext cx="11299088" cy="38528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A19EB2BF-21C7-DA01-6AAC-8D446BDFC72B}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/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/>
          </a:p>
        </p:txBody>
      </p:sp>
      <p:sp>
        <p:nvSpPr>
          <p:cNvPr id="6" name="Classification">
            <a:extLst>
              <a:ext uri="{FF2B5EF4-FFF2-40B4-BE49-F238E27FC236}">
                <a16:creationId xmlns:a16="http://schemas.microsoft.com/office/drawing/2014/main" id="{5145A4F0-7D5B-0FE6-3F2E-55FC068D8D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tx1"/>
                </a:solidFill>
                <a:effectLst/>
              </a:rPr>
              <a:t>MarSoc</a:t>
            </a:r>
            <a:r>
              <a:rPr lang="en-GB" sz="800" dirty="0">
                <a:solidFill>
                  <a:schemeClr val="tx1"/>
                </a:solidFill>
                <a:effectLst/>
              </a:rPr>
              <a:t> Awards Showcase | Jan 2024 | Final | Strictly Confidenti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B3A447-96E5-6A89-D327-174616FD9150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10583263" y="6183032"/>
            <a:ext cx="1413124" cy="498550"/>
          </a:xfrm>
          <a:prstGeom prst="rect">
            <a:avLst/>
          </a:prstGeom>
        </p:spPr>
      </p:pic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4A3110C8-9C50-102F-9F29-096C20901BAE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4519" y="1598271"/>
            <a:ext cx="1197293" cy="482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739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4" r:id="rId1"/>
    <p:sldLayoutId id="2147484418" r:id="rId2"/>
    <p:sldLayoutId id="2147484398" r:id="rId3"/>
    <p:sldLayoutId id="2147484396" r:id="rId4"/>
    <p:sldLayoutId id="2147484402" r:id="rId5"/>
    <p:sldLayoutId id="2147484408" r:id="rId6"/>
    <p:sldLayoutId id="2147484444" r:id="rId7"/>
    <p:sldLayoutId id="2147484409" r:id="rId8"/>
    <p:sldLayoutId id="2147484411" r:id="rId9"/>
    <p:sldLayoutId id="2147484412" r:id="rId10"/>
    <p:sldLayoutId id="2147484413" r:id="rId11"/>
    <p:sldLayoutId id="2147484414" r:id="rId12"/>
    <p:sldLayoutId id="2147484415" r:id="rId13"/>
    <p:sldLayoutId id="2147484416" r:id="rId14"/>
    <p:sldLayoutId id="2147484417" r:id="rId15"/>
    <p:sldLayoutId id="2147484419" r:id="rId16"/>
    <p:sldLayoutId id="2147484421" r:id="rId17"/>
    <p:sldLayoutId id="2147484422" r:id="rId18"/>
    <p:sldLayoutId id="2147484423" r:id="rId19"/>
    <p:sldLayoutId id="2147484424" r:id="rId20"/>
    <p:sldLayoutId id="2147484426" r:id="rId21"/>
    <p:sldLayoutId id="2147484431" r:id="rId22"/>
    <p:sldLayoutId id="2147484433" r:id="rId23"/>
    <p:sldLayoutId id="2147484434" r:id="rId24"/>
    <p:sldLayoutId id="2147484435" r:id="rId25"/>
    <p:sldLayoutId id="2147484436" r:id="rId26"/>
    <p:sldLayoutId id="2147484445" r:id="rId27"/>
    <p:sldLayoutId id="2147484512" r:id="rId28"/>
    <p:sldLayoutId id="2147484613" r:id="rId29"/>
    <p:sldLayoutId id="2147484615" r:id="rId30"/>
    <p:sldLayoutId id="2147484616" r:id="rId31"/>
    <p:sldLayoutId id="2147484617" r:id="rId32"/>
    <p:sldLayoutId id="2147484618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cap="none" spc="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5000"/>
        </a:lnSpc>
        <a:spcBef>
          <a:spcPts val="400"/>
        </a:spcBef>
        <a:spcAft>
          <a:spcPts val="400"/>
        </a:spcAft>
        <a:buSzPct val="100000"/>
        <a:buFont typeface="Wingdings 2" panose="05020102010507070707" pitchFamily="18" charset="2"/>
        <a:buNone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15000"/>
        </a:lnSpc>
        <a:spcBef>
          <a:spcPts val="400"/>
        </a:spcBef>
        <a:spcAft>
          <a:spcPts val="400"/>
        </a:spcAft>
        <a:buSzPct val="100000"/>
        <a:buFont typeface="Barlow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260350" algn="l" defTabSz="914400" rtl="0" eaLnBrk="1" latinLnBrk="0" hangingPunct="1">
        <a:lnSpc>
          <a:spcPct val="115000"/>
        </a:lnSpc>
        <a:spcBef>
          <a:spcPts val="400"/>
        </a:spcBef>
        <a:spcAft>
          <a:spcPts val="400"/>
        </a:spcAft>
        <a:buFont typeface="Barlow" panose="020B0604020202020204" pitchFamily="34" charset="0"/>
        <a:buChar char="‒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40602020203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1" orient="horz" pos="436">
          <p15:clr>
            <a:srgbClr val="9FCC3B"/>
          </p15:clr>
        </p15:guide>
        <p15:guide id="23" pos="279">
          <p15:clr>
            <a:srgbClr val="9FCC3B"/>
          </p15:clr>
        </p15:guide>
        <p15:guide id="24" pos="7401">
          <p15:clr>
            <a:srgbClr val="9FCC3B"/>
          </p15:clr>
        </p15:guide>
        <p15:guide id="25" pos="2509">
          <p15:clr>
            <a:srgbClr val="5ACBF0"/>
          </p15:clr>
        </p15:guide>
        <p15:guide id="26" pos="2729" userDrawn="1">
          <p15:clr>
            <a:srgbClr val="5ACBF0"/>
          </p15:clr>
        </p15:guide>
        <p15:guide id="30" pos="4951" userDrawn="1">
          <p15:clr>
            <a:srgbClr val="5ACBF0"/>
          </p15:clr>
        </p15:guide>
        <p15:guide id="31" pos="5178" userDrawn="1">
          <p15:clr>
            <a:srgbClr val="5ACBF0"/>
          </p15:clr>
        </p15:guide>
        <p15:guide id="35" orient="horz" pos="3747">
          <p15:clr>
            <a:srgbClr val="9FCC3B"/>
          </p15:clr>
        </p15:guide>
        <p15:guide id="36" orient="horz" pos="3884">
          <p15:clr>
            <a:srgbClr val="000000"/>
          </p15:clr>
        </p15:guide>
        <p15:guide id="38" orient="horz" pos="913">
          <p15:clr>
            <a:srgbClr val="C35EA4"/>
          </p15:clr>
        </p15:guide>
        <p15:guide id="39" orient="horz" pos="1139">
          <p15:clr>
            <a:srgbClr val="5ACBF0"/>
          </p15:clr>
        </p15:guide>
        <p15:guide id="41" pos="1916">
          <p15:clr>
            <a:srgbClr val="F26B43"/>
          </p15:clr>
        </p15:guide>
        <p15:guide id="42" pos="2114">
          <p15:clr>
            <a:srgbClr val="F26B43"/>
          </p15:clr>
        </p15:guide>
        <p15:guide id="43" pos="3942">
          <p15:clr>
            <a:srgbClr val="F26B43"/>
          </p15:clr>
        </p15:guide>
        <p15:guide id="45" pos="3747">
          <p15:clr>
            <a:srgbClr val="F26B43"/>
          </p15:clr>
        </p15:guide>
        <p15:guide id="46" pos="5574">
          <p15:clr>
            <a:srgbClr val="F26B43"/>
          </p15:clr>
        </p15:guide>
        <p15:guide id="47" pos="5763">
          <p15:clr>
            <a:srgbClr val="F26B43"/>
          </p15:clr>
        </p15:guide>
        <p15:guide id="48" orient="horz" pos="142">
          <p15:clr>
            <a:srgbClr val="000000"/>
          </p15:clr>
        </p15:guide>
        <p15:guide id="49" orient="horz" pos="3566">
          <p15:clr>
            <a:srgbClr val="5ACBF0"/>
          </p15:clr>
        </p15:guide>
        <p15:guide id="50" orient="horz" pos="4166">
          <p15:clr>
            <a:srgbClr val="000000"/>
          </p15:clr>
        </p15:guide>
        <p15:guide id="51" pos="140">
          <p15:clr>
            <a:srgbClr val="000000"/>
          </p15:clr>
        </p15:guide>
        <p15:guide id="52" pos="7537">
          <p15:clr>
            <a:srgbClr val="00000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er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701874"/>
            <a:ext cx="11299088" cy="71566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GB" dirty="0"/>
              <a:t>Slide title room for two lines</a:t>
            </a:r>
          </a:p>
        </p:txBody>
      </p:sp>
      <p:sp>
        <p:nvSpPr>
          <p:cNvPr id="7" name="Placeholder">
            <a:extLst>
              <a:ext uri="{FF2B5EF4-FFF2-40B4-BE49-F238E27FC236}">
                <a16:creationId xmlns:a16="http://schemas.microsoft.com/office/drawing/2014/main" id="{D7CC2174-966F-44FC-375D-7BD78365CC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6002" y="1825625"/>
            <a:ext cx="11313086" cy="3843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lassification">
            <a:extLst>
              <a:ext uri="{FF2B5EF4-FFF2-40B4-BE49-F238E27FC236}">
                <a16:creationId xmlns:a16="http://schemas.microsoft.com/office/drawing/2014/main" id="{5145A4F0-7D5B-0FE6-3F2E-55FC068D8D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440938" y="6488640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tx1"/>
                </a:solidFill>
                <a:effectLst/>
              </a:rPr>
              <a:t>© Ipsos | Research Stimulus | Final | Strictly Confidential</a:t>
            </a:r>
          </a:p>
        </p:txBody>
      </p:sp>
      <p:sp>
        <p:nvSpPr>
          <p:cNvPr id="96" name="Slide Number">
            <a:extLst>
              <a:ext uri="{FF2B5EF4-FFF2-40B4-BE49-F238E27FC236}">
                <a16:creationId xmlns:a16="http://schemas.microsoft.com/office/drawing/2014/main" id="{A19EB2BF-21C7-DA01-6AAC-8D446BDFC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/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‹#›</a:t>
            </a:fld>
            <a:endParaRPr lang="en-GB" sz="900" dirty="0"/>
          </a:p>
        </p:txBody>
      </p:sp>
      <p:pic>
        <p:nvPicPr>
          <p:cNvPr id="3" name="Graphic 3">
            <a:extLst>
              <a:ext uri="{FF2B5EF4-FFF2-40B4-BE49-F238E27FC236}">
                <a16:creationId xmlns:a16="http://schemas.microsoft.com/office/drawing/2014/main" id="{7793D816-E955-D79F-9643-6ACC41341D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8886" y="6279780"/>
            <a:ext cx="1037788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717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2" r:id="rId1"/>
    <p:sldLayoutId id="2147484583" r:id="rId2"/>
    <p:sldLayoutId id="2147484584" r:id="rId3"/>
    <p:sldLayoutId id="2147484585" r:id="rId4"/>
    <p:sldLayoutId id="2147484586" r:id="rId5"/>
    <p:sldLayoutId id="2147484587" r:id="rId6"/>
    <p:sldLayoutId id="2147484588" r:id="rId7"/>
    <p:sldLayoutId id="2147484589" r:id="rId8"/>
    <p:sldLayoutId id="2147484590" r:id="rId9"/>
    <p:sldLayoutId id="2147484591" r:id="rId10"/>
    <p:sldLayoutId id="2147484592" r:id="rId11"/>
    <p:sldLayoutId id="2147484593" r:id="rId12"/>
    <p:sldLayoutId id="2147484594" r:id="rId13"/>
    <p:sldLayoutId id="2147484595" r:id="rId14"/>
    <p:sldLayoutId id="2147484596" r:id="rId15"/>
    <p:sldLayoutId id="2147484597" r:id="rId16"/>
    <p:sldLayoutId id="2147484598" r:id="rId17"/>
    <p:sldLayoutId id="2147484599" r:id="rId18"/>
    <p:sldLayoutId id="2147484600" r:id="rId19"/>
    <p:sldLayoutId id="2147484601" r:id="rId20"/>
    <p:sldLayoutId id="2147484602" r:id="rId21"/>
    <p:sldLayoutId id="2147484603" r:id="rId22"/>
    <p:sldLayoutId id="2147484604" r:id="rId23"/>
    <p:sldLayoutId id="2147484605" r:id="rId24"/>
    <p:sldLayoutId id="2147484606" r:id="rId25"/>
    <p:sldLayoutId id="2147484607" r:id="rId26"/>
    <p:sldLayoutId id="2147484608" r:id="rId27"/>
    <p:sldLayoutId id="2147484609" r:id="rId28"/>
    <p:sldLayoutId id="2147484610" r:id="rId29"/>
    <p:sldLayoutId id="2147484611" r:id="rId3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spc="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5000"/>
        </a:lnSpc>
        <a:spcBef>
          <a:spcPts val="400"/>
        </a:spcBef>
        <a:spcAft>
          <a:spcPts val="400"/>
        </a:spcAft>
        <a:buSzPct val="100000"/>
        <a:buFont typeface="Wingdings 2" panose="05020102010507070707" pitchFamily="18" charset="2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lnSpc>
          <a:spcPct val="115000"/>
        </a:lnSpc>
        <a:spcBef>
          <a:spcPts val="400"/>
        </a:spcBef>
        <a:spcAft>
          <a:spcPts val="400"/>
        </a:spcAft>
        <a:buSzPct val="100000"/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73038" algn="l" defTabSz="914400" rtl="0" eaLnBrk="1" latinLnBrk="0" hangingPunct="1">
        <a:lnSpc>
          <a:spcPct val="115000"/>
        </a:lnSpc>
        <a:spcBef>
          <a:spcPts val="400"/>
        </a:spcBef>
        <a:spcAft>
          <a:spcPts val="400"/>
        </a:spcAft>
        <a:buFont typeface="Barlow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115000"/>
        </a:lnSpc>
        <a:spcBef>
          <a:spcPts val="400"/>
        </a:spcBef>
        <a:spcAft>
          <a:spcPts val="400"/>
        </a:spcAft>
        <a:buFont typeface="Barlow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33463" indent="0" algn="l" defTabSz="914400" rtl="0" eaLnBrk="1" latinLnBrk="0" hangingPunct="1">
        <a:lnSpc>
          <a:spcPct val="115000"/>
        </a:lnSpc>
        <a:spcBef>
          <a:spcPts val="400"/>
        </a:spcBef>
        <a:spcAft>
          <a:spcPts val="400"/>
        </a:spcAft>
        <a:buFont typeface="Barlow" panose="020B040602020203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Barlow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5" pos="2509">
          <p15:clr>
            <a:srgbClr val="F26B43"/>
          </p15:clr>
        </p15:guide>
        <p15:guide id="26" pos="2698">
          <p15:clr>
            <a:srgbClr val="F26B43"/>
          </p15:clr>
        </p15:guide>
        <p15:guide id="30" pos="4930">
          <p15:clr>
            <a:srgbClr val="F26B43"/>
          </p15:clr>
        </p15:guide>
        <p15:guide id="31" pos="5126">
          <p15:clr>
            <a:srgbClr val="F26B43"/>
          </p15:clr>
        </p15:guide>
        <p15:guide id="39" orient="horz" pos="1139">
          <p15:clr>
            <a:srgbClr val="5ACBF0"/>
          </p15:clr>
        </p15:guide>
        <p15:guide id="41" pos="1905">
          <p15:clr>
            <a:srgbClr val="5ACBF0"/>
          </p15:clr>
        </p15:guide>
        <p15:guide id="42" pos="2109">
          <p15:clr>
            <a:srgbClr val="5ACBF0"/>
          </p15:clr>
        </p15:guide>
        <p15:guide id="43" pos="3942">
          <p15:clr>
            <a:srgbClr val="5ACBF0"/>
          </p15:clr>
        </p15:guide>
        <p15:guide id="45" pos="3741">
          <p15:clr>
            <a:srgbClr val="5ACBF0"/>
          </p15:clr>
        </p15:guide>
        <p15:guide id="46" pos="5568">
          <p15:clr>
            <a:srgbClr val="5ACBF0"/>
          </p15:clr>
        </p15:guide>
        <p15:guide id="47" pos="5770">
          <p15:clr>
            <a:srgbClr val="5ACBF0"/>
          </p15:clr>
        </p15:guide>
        <p15:guide id="53" orient="horz" pos="436">
          <p15:clr>
            <a:srgbClr val="9FCC3B"/>
          </p15:clr>
        </p15:guide>
        <p15:guide id="54" pos="279">
          <p15:clr>
            <a:srgbClr val="9FCC3B"/>
          </p15:clr>
        </p15:guide>
        <p15:guide id="55" pos="7401">
          <p15:clr>
            <a:srgbClr val="9FCC3B"/>
          </p15:clr>
        </p15:guide>
        <p15:guide id="56" orient="horz" pos="3747">
          <p15:clr>
            <a:srgbClr val="9FCC3B"/>
          </p15:clr>
        </p15:guide>
        <p15:guide id="57" orient="horz" pos="3884">
          <p15:clr>
            <a:srgbClr val="000000"/>
          </p15:clr>
        </p15:guide>
        <p15:guide id="58" orient="horz" pos="913">
          <p15:clr>
            <a:srgbClr val="C35EA4"/>
          </p15:clr>
        </p15:guide>
        <p15:guide id="59" orient="horz" pos="132">
          <p15:clr>
            <a:srgbClr val="000000"/>
          </p15:clr>
        </p15:guide>
        <p15:guide id="60" orient="horz" pos="3571">
          <p15:clr>
            <a:srgbClr val="5ACBF0"/>
          </p15:clr>
        </p15:guide>
        <p15:guide id="61" orient="horz" pos="4166">
          <p15:clr>
            <a:srgbClr val="000000"/>
          </p15:clr>
        </p15:guide>
        <p15:guide id="62" pos="140">
          <p15:clr>
            <a:srgbClr val="000000"/>
          </p15:clr>
        </p15:guide>
        <p15:guide id="63" pos="7537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4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7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83B073-0CBB-B8FA-BCC0-D8C5E465D7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Video 3" title="Wildfire in forest">
            <a:hlinkClick r:id="" action="ppaction://media"/>
            <a:extLst>
              <a:ext uri="{FF2B5EF4-FFF2-40B4-BE49-F238E27FC236}">
                <a16:creationId xmlns:a16="http://schemas.microsoft.com/office/drawing/2014/main" id="{5FEAE545-C433-EAFC-197F-7A9FB90F710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E25E5C0E-6456-37D6-A5F8-99EDA297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6000" dirty="0"/>
              <a:t>How to Solve a Problem like the Climate Crisi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7BB3D8-4AB4-44BA-FCDD-707895791E42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en-GB" dirty="0"/>
              <a:t>National Dialogue on Climate Action </a:t>
            </a:r>
          </a:p>
          <a:p>
            <a:r>
              <a:rPr lang="en-GB" dirty="0"/>
              <a:t>Marketing Society Awards Showcase </a:t>
            </a:r>
          </a:p>
          <a:p>
            <a:r>
              <a:rPr lang="en-GB" dirty="0"/>
              <a:t>January 2025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B718692-FF0F-40F8-BE8B-7DC50204C3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40290" y="5904772"/>
            <a:ext cx="1409081" cy="7988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BD96415-4212-10C7-BBEB-A05E02949B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6344" y="343902"/>
            <a:ext cx="2685771" cy="949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2531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962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9036DA1-8AD9-227A-DC3B-BB70D4E0C0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2439" y="0"/>
            <a:ext cx="5498363" cy="5948363"/>
          </a:xfrm>
          <a:custGeom>
            <a:avLst/>
            <a:gdLst>
              <a:gd name="connsiteX0" fmla="*/ 0 w 5519733"/>
              <a:gd name="connsiteY0" fmla="*/ 0 h 5948363"/>
              <a:gd name="connsiteX1" fmla="*/ 5519733 w 5519733"/>
              <a:gd name="connsiteY1" fmla="*/ 0 h 5948363"/>
              <a:gd name="connsiteX2" fmla="*/ 5519733 w 5519733"/>
              <a:gd name="connsiteY2" fmla="*/ 5258704 h 5948363"/>
              <a:gd name="connsiteX3" fmla="*/ 4830074 w 5519733"/>
              <a:gd name="connsiteY3" fmla="*/ 5948363 h 5948363"/>
              <a:gd name="connsiteX4" fmla="*/ 0 w 5519733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9733" h="5948363">
                <a:moveTo>
                  <a:pt x="0" y="0"/>
                </a:moveTo>
                <a:lnTo>
                  <a:pt x="5519733" y="0"/>
                </a:lnTo>
                <a:lnTo>
                  <a:pt x="5519733" y="5258704"/>
                </a:lnTo>
                <a:lnTo>
                  <a:pt x="4830074" y="5948363"/>
                </a:lnTo>
                <a:lnTo>
                  <a:pt x="0" y="594836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9D3162C-59CD-B424-AE5B-3BFF277FCAC3}"/>
              </a:ext>
            </a:extLst>
          </p:cNvPr>
          <p:cNvSpPr/>
          <p:nvPr/>
        </p:nvSpPr>
        <p:spPr>
          <a:xfrm>
            <a:off x="775795" y="2017712"/>
            <a:ext cx="191545" cy="19634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0000" tIns="0" rIns="0" bIns="0" rtlCol="0" anchor="ctr"/>
          <a:lstStyle/>
          <a:p>
            <a:pPr algn="l">
              <a:lnSpc>
                <a:spcPct val="110000"/>
              </a:lnSpc>
            </a:pPr>
            <a:endParaRPr lang="en-GB" sz="2400" b="1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DB73334-0244-28DE-FB0F-345359381379}"/>
              </a:ext>
            </a:extLst>
          </p:cNvPr>
          <p:cNvSpPr txBox="1"/>
          <p:nvPr/>
        </p:nvSpPr>
        <p:spPr>
          <a:xfrm>
            <a:off x="1073100" y="289877"/>
            <a:ext cx="4257040" cy="4401205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</a:rPr>
              <a:t>MAPPS</a:t>
            </a:r>
            <a:br>
              <a:rPr lang="en-GB" sz="4000" dirty="0">
                <a:solidFill>
                  <a:schemeClr val="bg1"/>
                </a:solidFill>
              </a:rPr>
            </a:br>
            <a:br>
              <a:rPr lang="en-GB" sz="4000" dirty="0">
                <a:solidFill>
                  <a:schemeClr val="bg1"/>
                </a:solidFill>
              </a:rPr>
            </a:br>
            <a:r>
              <a:rPr lang="en-GB" sz="4000" b="0" dirty="0">
                <a:solidFill>
                  <a:schemeClr val="bg1"/>
                </a:solidFill>
              </a:rPr>
              <a:t>Utilising Behavioural Insights to Overcome Barriers </a:t>
            </a:r>
            <a:endParaRPr lang="en-GB" sz="4000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1B87D3D-3F97-437E-A11E-8495DB281C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2328" y="4832598"/>
            <a:ext cx="5803765" cy="102076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762242F-E990-0861-820C-4A74F3B69F0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52217" y="869632"/>
            <a:ext cx="4863988" cy="348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287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9036DA1-8AD9-227A-DC3B-BB70D4E0C01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2439" y="0"/>
            <a:ext cx="5498363" cy="5948363"/>
          </a:xfrm>
          <a:custGeom>
            <a:avLst/>
            <a:gdLst>
              <a:gd name="connsiteX0" fmla="*/ 0 w 5519733"/>
              <a:gd name="connsiteY0" fmla="*/ 0 h 5948363"/>
              <a:gd name="connsiteX1" fmla="*/ 5519733 w 5519733"/>
              <a:gd name="connsiteY1" fmla="*/ 0 h 5948363"/>
              <a:gd name="connsiteX2" fmla="*/ 5519733 w 5519733"/>
              <a:gd name="connsiteY2" fmla="*/ 5258704 h 5948363"/>
              <a:gd name="connsiteX3" fmla="*/ 4830074 w 5519733"/>
              <a:gd name="connsiteY3" fmla="*/ 5948363 h 5948363"/>
              <a:gd name="connsiteX4" fmla="*/ 0 w 5519733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9733" h="5948363">
                <a:moveTo>
                  <a:pt x="0" y="0"/>
                </a:moveTo>
                <a:lnTo>
                  <a:pt x="5519733" y="0"/>
                </a:lnTo>
                <a:lnTo>
                  <a:pt x="5519733" y="5258704"/>
                </a:lnTo>
                <a:lnTo>
                  <a:pt x="4830074" y="5948363"/>
                </a:lnTo>
                <a:lnTo>
                  <a:pt x="0" y="594836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9D3162C-59CD-B424-AE5B-3BFF277FCAC3}"/>
              </a:ext>
            </a:extLst>
          </p:cNvPr>
          <p:cNvSpPr/>
          <p:nvPr/>
        </p:nvSpPr>
        <p:spPr>
          <a:xfrm>
            <a:off x="775795" y="2017712"/>
            <a:ext cx="191545" cy="19634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0000" tIns="0" rIns="0" bIns="0" rtlCol="0" anchor="ctr"/>
          <a:lstStyle/>
          <a:p>
            <a:pPr algn="l">
              <a:lnSpc>
                <a:spcPct val="110000"/>
              </a:lnSpc>
            </a:pPr>
            <a:r>
              <a:rPr lang="en-GB" sz="2400" i="1" dirty="0">
                <a:solidFill>
                  <a:schemeClr val="bg1"/>
                </a:solidFill>
              </a:rPr>
              <a:t>Doubts about Infrastructure and </a:t>
            </a:r>
          </a:p>
          <a:p>
            <a:pPr>
              <a:lnSpc>
                <a:spcPct val="110000"/>
              </a:lnSpc>
            </a:pPr>
            <a:r>
              <a:rPr lang="en-GB" sz="2400" i="1" dirty="0">
                <a:solidFill>
                  <a:schemeClr val="bg1"/>
                </a:solidFill>
              </a:rPr>
              <a:t>Environmental Benefits</a:t>
            </a:r>
          </a:p>
          <a:p>
            <a:pPr>
              <a:lnSpc>
                <a:spcPct val="110000"/>
              </a:lnSpc>
            </a:pPr>
            <a:r>
              <a:rPr lang="en-GB" sz="2400" i="1" dirty="0">
                <a:solidFill>
                  <a:schemeClr val="bg1"/>
                </a:solidFill>
              </a:rPr>
              <a:t>are evident, particularly for men</a:t>
            </a:r>
          </a:p>
          <a:p>
            <a:pPr algn="l">
              <a:lnSpc>
                <a:spcPct val="110000"/>
              </a:lnSpc>
            </a:pPr>
            <a:r>
              <a:rPr lang="en-GB" sz="2400" b="1" dirty="0">
                <a:solidFill>
                  <a:schemeClr val="bg1"/>
                </a:solidFill>
              </a:rPr>
              <a:t>Electric Vehicles</a:t>
            </a:r>
          </a:p>
        </p:txBody>
      </p:sp>
      <p:pic>
        <p:nvPicPr>
          <p:cNvPr id="11" name="Picture Placeholder 7">
            <a:extLst>
              <a:ext uri="{FF2B5EF4-FFF2-40B4-BE49-F238E27FC236}">
                <a16:creationId xmlns:a16="http://schemas.microsoft.com/office/drawing/2014/main" id="{2C22FAE7-A35C-0AEC-DB08-BA5FB5930B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62211" y="1578865"/>
            <a:ext cx="3729789" cy="4196293"/>
          </a:xfrm>
          <a:custGeom>
            <a:avLst/>
            <a:gdLst>
              <a:gd name="connsiteX0" fmla="*/ 0 w 7410450"/>
              <a:gd name="connsiteY0" fmla="*/ 0 h 5948363"/>
              <a:gd name="connsiteX1" fmla="*/ 7410450 w 7410450"/>
              <a:gd name="connsiteY1" fmla="*/ 0 h 5948363"/>
              <a:gd name="connsiteX2" fmla="*/ 7410450 w 7410450"/>
              <a:gd name="connsiteY2" fmla="*/ 4975605 h 5948363"/>
              <a:gd name="connsiteX3" fmla="*/ 6437692 w 7410450"/>
              <a:gd name="connsiteY3" fmla="*/ 5948363 h 5948363"/>
              <a:gd name="connsiteX4" fmla="*/ 0 w 7410450"/>
              <a:gd name="connsiteY4" fmla="*/ 5948363 h 5948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10450" h="5948363">
                <a:moveTo>
                  <a:pt x="0" y="0"/>
                </a:moveTo>
                <a:lnTo>
                  <a:pt x="7410450" y="0"/>
                </a:lnTo>
                <a:lnTo>
                  <a:pt x="7410450" y="4975605"/>
                </a:lnTo>
                <a:lnTo>
                  <a:pt x="6437692" y="5948363"/>
                </a:lnTo>
                <a:lnTo>
                  <a:pt x="0" y="5948363"/>
                </a:lnTo>
                <a:close/>
              </a:path>
            </a:pathLst>
          </a:custGeom>
        </p:spPr>
      </p:pic>
      <p:graphicFrame>
        <p:nvGraphicFramePr>
          <p:cNvPr id="2" name="Content Placeholder 4">
            <a:extLst>
              <a:ext uri="{FF2B5EF4-FFF2-40B4-BE49-F238E27FC236}">
                <a16:creationId xmlns:a16="http://schemas.microsoft.com/office/drawing/2014/main" id="{83313823-BBF3-88E9-DA1F-7A2678D0F34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010819" y="1327784"/>
          <a:ext cx="8536781" cy="3343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125395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">
            <a:extLst>
              <a:ext uri="{FF2B5EF4-FFF2-40B4-BE49-F238E27FC236}">
                <a16:creationId xmlns:a16="http://schemas.microsoft.com/office/drawing/2014/main" id="{A2AC0661-920A-40BB-86CB-13A792DA4BDE}"/>
              </a:ext>
            </a:extLst>
          </p:cNvPr>
          <p:cNvSpPr txBox="1">
            <a:spLocks/>
          </p:cNvSpPr>
          <p:nvPr/>
        </p:nvSpPr>
        <p:spPr>
          <a:xfrm>
            <a:off x="7233503" y="2254250"/>
            <a:ext cx="4005997" cy="191950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SzPct val="50000"/>
              <a:buFont typeface="Barlow" panose="020B040602020203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SzPct val="80000"/>
              <a:buFont typeface="Barlow" panose="020B0502040204020203" pitchFamily="34" charset="0"/>
              <a:buChar char="●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603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Font typeface="Barlow" panose="020B0604020202020204" pitchFamily="34" charset="0"/>
              <a:buChar char="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Font typeface="Barlow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Font typeface="Barlow" panose="020B0406020202030204" pitchFamily="34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01800" indent="4064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Font typeface="Barlow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GB" sz="2800" dirty="0">
                <a:latin typeface="Barlow" panose="00000500000000000000" pitchFamily="2" charset="0"/>
                <a:cs typeface="Calibri" panose="020F0502020204030204" pitchFamily="34" charset="0"/>
              </a:rPr>
              <a:t>Physical barriers combined with doubts about the Environmental Benefits (Male) and Capability (Female) stand out.</a:t>
            </a:r>
            <a:endParaRPr lang="en-IE" sz="2800" dirty="0">
              <a:latin typeface="Barlow" panose="000005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701CA4F5-25B5-3ECA-D185-9D3270FB45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5400000">
            <a:off x="-33958" y="-43912"/>
            <a:ext cx="3124200" cy="312420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71FB540-0CC1-2843-0371-9466808A56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00000">
            <a:off x="-865342" y="1530655"/>
            <a:ext cx="3601800" cy="853381"/>
          </a:xfrm>
          <a:custGeom>
            <a:avLst/>
            <a:gdLst>
              <a:gd name="connsiteX0" fmla="*/ 2748419 w 3601800"/>
              <a:gd name="connsiteY0" fmla="*/ 0 h 853381"/>
              <a:gd name="connsiteX1" fmla="*/ 3601800 w 3601800"/>
              <a:gd name="connsiteY1" fmla="*/ 853381 h 853381"/>
              <a:gd name="connsiteX2" fmla="*/ 0 w 3601800"/>
              <a:gd name="connsiteY2" fmla="*/ 853381 h 853381"/>
              <a:gd name="connsiteX3" fmla="*/ 853381 w 3601800"/>
              <a:gd name="connsiteY3" fmla="*/ 0 h 853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1800" h="853381">
                <a:moveTo>
                  <a:pt x="2748419" y="0"/>
                </a:moveTo>
                <a:lnTo>
                  <a:pt x="3601800" y="853381"/>
                </a:lnTo>
                <a:lnTo>
                  <a:pt x="0" y="853381"/>
                </a:lnTo>
                <a:lnTo>
                  <a:pt x="853381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2" name="Content Placeholder 4">
            <a:extLst>
              <a:ext uri="{FF2B5EF4-FFF2-40B4-BE49-F238E27FC236}">
                <a16:creationId xmlns:a16="http://schemas.microsoft.com/office/drawing/2014/main" id="{2B2C45A4-A36D-7BBA-671E-DFAAECF58974}"/>
              </a:ext>
            </a:extLst>
          </p:cNvPr>
          <p:cNvGraphicFramePr>
            <a:graphicFrameLocks/>
          </p:cNvGraphicFramePr>
          <p:nvPr/>
        </p:nvGraphicFramePr>
        <p:xfrm>
          <a:off x="-178991" y="1648087"/>
          <a:ext cx="8536781" cy="3343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596D677-E7B8-CC12-7B46-C3D558CA0D79}"/>
              </a:ext>
            </a:extLst>
          </p:cNvPr>
          <p:cNvSpPr txBox="1"/>
          <p:nvPr/>
        </p:nvSpPr>
        <p:spPr>
          <a:xfrm>
            <a:off x="5960060" y="203019"/>
            <a:ext cx="6231940" cy="707886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en-GB" sz="4000" b="1" dirty="0"/>
              <a:t>Barriers to Solar (&amp; Wind)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412602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">
            <a:extLst>
              <a:ext uri="{FF2B5EF4-FFF2-40B4-BE49-F238E27FC236}">
                <a16:creationId xmlns:a16="http://schemas.microsoft.com/office/drawing/2014/main" id="{A2AC0661-920A-40BB-86CB-13A792DA4BDE}"/>
              </a:ext>
            </a:extLst>
          </p:cNvPr>
          <p:cNvSpPr txBox="1">
            <a:spLocks/>
          </p:cNvSpPr>
          <p:nvPr/>
        </p:nvSpPr>
        <p:spPr>
          <a:xfrm>
            <a:off x="7233503" y="2254250"/>
            <a:ext cx="4005997" cy="191950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SzPct val="50000"/>
              <a:buFont typeface="Barlow" panose="020B040602020203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SzPct val="80000"/>
              <a:buFont typeface="Barlow" panose="020B0502040204020203" pitchFamily="34" charset="0"/>
              <a:buChar char="●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603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Font typeface="Barlow" panose="020B0604020202020204" pitchFamily="34" charset="0"/>
              <a:buChar char="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Font typeface="Barlow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Font typeface="Barlow" panose="020B0406020202030204" pitchFamily="34" charset="0"/>
              <a:buChar char="−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01800" indent="4064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500"/>
              </a:spcAft>
              <a:buFont typeface="Barlow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GB" sz="2800" dirty="0">
                <a:latin typeface="Barlow" panose="00000500000000000000" pitchFamily="2" charset="0"/>
                <a:cs typeface="Calibri" panose="020F0502020204030204" pitchFamily="34" charset="0"/>
              </a:rPr>
              <a:t>Living on an island we identify as a nation that flies. Particularly challenging for those under 35.</a:t>
            </a:r>
            <a:endParaRPr lang="en-IE" sz="2800" dirty="0">
              <a:latin typeface="Barlow" panose="000005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701CA4F5-25B5-3ECA-D185-9D3270FB45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5400000">
            <a:off x="-33958" y="-43912"/>
            <a:ext cx="3124200" cy="3124200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71FB540-0CC1-2843-0371-9466808A56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00000">
            <a:off x="-865342" y="1530655"/>
            <a:ext cx="3601800" cy="853381"/>
          </a:xfrm>
          <a:custGeom>
            <a:avLst/>
            <a:gdLst>
              <a:gd name="connsiteX0" fmla="*/ 2748419 w 3601800"/>
              <a:gd name="connsiteY0" fmla="*/ 0 h 853381"/>
              <a:gd name="connsiteX1" fmla="*/ 3601800 w 3601800"/>
              <a:gd name="connsiteY1" fmla="*/ 853381 h 853381"/>
              <a:gd name="connsiteX2" fmla="*/ 0 w 3601800"/>
              <a:gd name="connsiteY2" fmla="*/ 853381 h 853381"/>
              <a:gd name="connsiteX3" fmla="*/ 853381 w 3601800"/>
              <a:gd name="connsiteY3" fmla="*/ 0 h 853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01800" h="853381">
                <a:moveTo>
                  <a:pt x="2748419" y="0"/>
                </a:moveTo>
                <a:lnTo>
                  <a:pt x="3601800" y="853381"/>
                </a:lnTo>
                <a:lnTo>
                  <a:pt x="0" y="853381"/>
                </a:lnTo>
                <a:lnTo>
                  <a:pt x="853381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</a:pPr>
            <a:endParaRPr lang="en-GB" sz="1200" dirty="0">
              <a:solidFill>
                <a:schemeClr val="tx1"/>
              </a:solidFill>
            </a:endParaRPr>
          </a:p>
        </p:txBody>
      </p:sp>
      <p:graphicFrame>
        <p:nvGraphicFramePr>
          <p:cNvPr id="4" name="Content Placeholder 4">
            <a:extLst>
              <a:ext uri="{FF2B5EF4-FFF2-40B4-BE49-F238E27FC236}">
                <a16:creationId xmlns:a16="http://schemas.microsoft.com/office/drawing/2014/main" id="{7B253E05-27A8-4E77-F8DB-96D2C4AD08D6}"/>
              </a:ext>
            </a:extLst>
          </p:cNvPr>
          <p:cNvGraphicFramePr>
            <a:graphicFrameLocks/>
          </p:cNvGraphicFramePr>
          <p:nvPr/>
        </p:nvGraphicFramePr>
        <p:xfrm>
          <a:off x="-132080" y="581149"/>
          <a:ext cx="8442960" cy="5142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596D677-E7B8-CC12-7B46-C3D558CA0D79}"/>
              </a:ext>
            </a:extLst>
          </p:cNvPr>
          <p:cNvSpPr txBox="1"/>
          <p:nvPr/>
        </p:nvSpPr>
        <p:spPr>
          <a:xfrm>
            <a:off x="5960060" y="203019"/>
            <a:ext cx="6231940" cy="1323439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en-GB" sz="4000" b="1" dirty="0"/>
              <a:t>Barriers to taking fewer flights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414495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"/>
        </p:bldSub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a">
            <a:extLst>
              <a:ext uri="{FF2B5EF4-FFF2-40B4-BE49-F238E27FC236}">
                <a16:creationId xmlns:a16="http://schemas.microsoft.com/office/drawing/2014/main" id="{B16C16B8-73FA-4A84-BE52-9AF774883F0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93700" y="276225"/>
            <a:ext cx="3527425" cy="1911350"/>
          </a:xfrm>
        </p:spPr>
        <p:txBody>
          <a:bodyPr/>
          <a:lstStyle/>
          <a:p>
            <a:r>
              <a:rPr lang="en-GB" sz="5400" b="1" dirty="0">
                <a:solidFill>
                  <a:schemeClr val="tx2"/>
                </a:solidFill>
              </a:rPr>
              <a:t>What do you see here?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42A7E4E2-7230-42BB-BB90-7A6FE22253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t>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655F73C-91DE-CE5D-079E-646628D4E6CA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fld id="{42C674B8-9BBC-4FFF-A23E-570BB0655C41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50EC8B-CF0E-A7D0-E78C-800C7D4EDE08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fld id="{42C674B8-9BBC-4FFF-A23E-570BB0655C41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pic>
        <p:nvPicPr>
          <p:cNvPr id="7" name="Picture 6" descr="A blue and black logo&#10;&#10;Description automatically generated">
            <a:extLst>
              <a:ext uri="{FF2B5EF4-FFF2-40B4-BE49-F238E27FC236}">
                <a16:creationId xmlns:a16="http://schemas.microsoft.com/office/drawing/2014/main" id="{29A358B6-9821-E7D8-DB2E-E9D3B5B8304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8974" y="6164638"/>
            <a:ext cx="941695" cy="448056"/>
          </a:xfrm>
          <a:prstGeom prst="rect">
            <a:avLst/>
          </a:prstGeom>
        </p:spPr>
      </p:pic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01B117C5-2F6E-1AFE-8C87-F5E3A9BA6346}"/>
              </a:ext>
            </a:extLst>
          </p:cNvPr>
          <p:cNvSpPr/>
          <p:nvPr/>
        </p:nvSpPr>
        <p:spPr>
          <a:xfrm rot="8100000">
            <a:off x="6281173" y="456780"/>
            <a:ext cx="3439647" cy="881778"/>
          </a:xfrm>
          <a:custGeom>
            <a:avLst/>
            <a:gdLst>
              <a:gd name="connsiteX0" fmla="*/ 2464220 w 3313714"/>
              <a:gd name="connsiteY0" fmla="*/ 0 h 849494"/>
              <a:gd name="connsiteX1" fmla="*/ 3313714 w 3313714"/>
              <a:gd name="connsiteY1" fmla="*/ 849494 h 849494"/>
              <a:gd name="connsiteX2" fmla="*/ 849494 w 3313714"/>
              <a:gd name="connsiteY2" fmla="*/ 849494 h 849494"/>
              <a:gd name="connsiteX3" fmla="*/ 0 w 3313714"/>
              <a:gd name="connsiteY3" fmla="*/ 0 h 84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714" h="849494">
                <a:moveTo>
                  <a:pt x="2464220" y="0"/>
                </a:moveTo>
                <a:lnTo>
                  <a:pt x="3313714" y="849494"/>
                </a:lnTo>
                <a:lnTo>
                  <a:pt x="849494" y="849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pic>
        <p:nvPicPr>
          <p:cNvPr id="12" name="Picture Placeholder 11" descr="A field of trees with white poles&#10;&#10;Description automatically generated with medium confidence">
            <a:extLst>
              <a:ext uri="{FF2B5EF4-FFF2-40B4-BE49-F238E27FC236}">
                <a16:creationId xmlns:a16="http://schemas.microsoft.com/office/drawing/2014/main" id="{EF74CE4F-CFA6-DC22-E1D2-8B19A81E1D1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394" r="39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250645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a">
            <a:extLst>
              <a:ext uri="{FF2B5EF4-FFF2-40B4-BE49-F238E27FC236}">
                <a16:creationId xmlns:a16="http://schemas.microsoft.com/office/drawing/2014/main" id="{B16C16B8-73FA-4A84-BE52-9AF774883F0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93700" y="276225"/>
            <a:ext cx="3527425" cy="1911350"/>
          </a:xfrm>
        </p:spPr>
        <p:txBody>
          <a:bodyPr/>
          <a:lstStyle/>
          <a:p>
            <a:endParaRPr lang="en-GB" sz="5400" b="1" dirty="0">
              <a:solidFill>
                <a:schemeClr val="tx2"/>
              </a:solidFill>
            </a:endParaRPr>
          </a:p>
          <a:p>
            <a:r>
              <a:rPr lang="en-GB" sz="5400" b="1" dirty="0">
                <a:solidFill>
                  <a:schemeClr val="tx2"/>
                </a:solidFill>
              </a:rPr>
              <a:t>Or here?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42A7E4E2-7230-42BB-BB90-7A6FE22253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t>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655F73C-91DE-CE5D-079E-646628D4E6CA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fld id="{42C674B8-9BBC-4FFF-A23E-570BB0655C41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50EC8B-CF0E-A7D0-E78C-800C7D4EDE08}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fld id="{42C674B8-9BBC-4FFF-A23E-570BB0655C41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pic>
        <p:nvPicPr>
          <p:cNvPr id="7" name="Picture 6" descr="A blue and black logo&#10;&#10;Description automatically generated">
            <a:extLst>
              <a:ext uri="{FF2B5EF4-FFF2-40B4-BE49-F238E27FC236}">
                <a16:creationId xmlns:a16="http://schemas.microsoft.com/office/drawing/2014/main" id="{29A358B6-9821-E7D8-DB2E-E9D3B5B8304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8974" y="6164638"/>
            <a:ext cx="941695" cy="448056"/>
          </a:xfrm>
          <a:prstGeom prst="rect">
            <a:avLst/>
          </a:prstGeom>
        </p:spPr>
      </p:pic>
      <p:pic>
        <p:nvPicPr>
          <p:cNvPr id="12" name="Picture Placeholder 11" descr="A grey couch with pillows in a room&#10;&#10;Description automatically generated">
            <a:extLst>
              <a:ext uri="{FF2B5EF4-FFF2-40B4-BE49-F238E27FC236}">
                <a16:creationId xmlns:a16="http://schemas.microsoft.com/office/drawing/2014/main" id="{13491B35-F820-066E-EA11-EF493EB6BE5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041F478C-1916-8ED0-EC9C-647337BBB84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99680" y="0"/>
            <a:ext cx="881188" cy="1199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01B117C5-2F6E-1AFE-8C87-F5E3A9BA6346}"/>
              </a:ext>
            </a:extLst>
          </p:cNvPr>
          <p:cNvSpPr/>
          <p:nvPr/>
        </p:nvSpPr>
        <p:spPr>
          <a:xfrm rot="8100000">
            <a:off x="6281173" y="456780"/>
            <a:ext cx="3439647" cy="881778"/>
          </a:xfrm>
          <a:custGeom>
            <a:avLst/>
            <a:gdLst>
              <a:gd name="connsiteX0" fmla="*/ 2464220 w 3313714"/>
              <a:gd name="connsiteY0" fmla="*/ 0 h 849494"/>
              <a:gd name="connsiteX1" fmla="*/ 3313714 w 3313714"/>
              <a:gd name="connsiteY1" fmla="*/ 849494 h 849494"/>
              <a:gd name="connsiteX2" fmla="*/ 849494 w 3313714"/>
              <a:gd name="connsiteY2" fmla="*/ 849494 h 849494"/>
              <a:gd name="connsiteX3" fmla="*/ 0 w 3313714"/>
              <a:gd name="connsiteY3" fmla="*/ 0 h 84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714" h="849494">
                <a:moveTo>
                  <a:pt x="2464220" y="0"/>
                </a:moveTo>
                <a:lnTo>
                  <a:pt x="3313714" y="849494"/>
                </a:lnTo>
                <a:lnTo>
                  <a:pt x="849494" y="849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556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F7871B-557D-8E17-B2AA-7452B4259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The NDCA - Multiple Elements of this Evolving Project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39735E67-D769-8ACD-A51A-2DC780D900CC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2"/>
          <a:srcRect t="1118" b="1118"/>
          <a:stretch/>
        </p:blipFill>
        <p:spPr/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36AA11A-338D-CD79-F892-38309228D2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numCol="1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Understanding where citizens are, not where we want them to be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onsider the limited capacity that citizens have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argeting behaviours that make a differenc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Building on individual to community initiatives.</a:t>
            </a:r>
          </a:p>
        </p:txBody>
      </p:sp>
    </p:spTree>
    <p:extLst>
      <p:ext uri="{BB962C8B-B14F-4D97-AF65-F5344CB8AC3E}">
        <p14:creationId xmlns:p14="http://schemas.microsoft.com/office/powerpoint/2010/main" val="323556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362A5F-B45C-DCE0-EE5A-F6B2787FC5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726" y="625476"/>
            <a:ext cx="9885363" cy="5528469"/>
          </a:xfrm>
        </p:spPr>
        <p:txBody>
          <a:bodyPr>
            <a:normAutofit/>
          </a:bodyPr>
          <a:lstStyle/>
          <a:p>
            <a:pPr>
              <a:defRPr/>
            </a:pPr>
            <a:endParaRPr lang="en-IE" sz="1600" dirty="0"/>
          </a:p>
          <a:p>
            <a:pPr>
              <a:defRPr/>
            </a:pPr>
            <a:endParaRPr lang="en-IE" sz="1600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1BE36B6B-E0E1-5AB5-52F7-4E0D784BD8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8149512"/>
              </p:ext>
            </p:extLst>
          </p:nvPr>
        </p:nvGraphicFramePr>
        <p:xfrm>
          <a:off x="474664" y="982008"/>
          <a:ext cx="11242675" cy="5541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A8417BD7-3BE2-7AD1-FCF9-D339078D812E}"/>
              </a:ext>
            </a:extLst>
          </p:cNvPr>
          <p:cNvSpPr txBox="1">
            <a:spLocks/>
          </p:cNvSpPr>
          <p:nvPr/>
        </p:nvSpPr>
        <p:spPr>
          <a:xfrm>
            <a:off x="577758" y="302045"/>
            <a:ext cx="9448800" cy="1359926"/>
          </a:xfrm>
          <a:prstGeom prst="rect">
            <a:avLst/>
          </a:prstGeom>
        </p:spPr>
        <p:txBody>
          <a:bodyPr/>
          <a:lstStyle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9600" b="1" spc="-180">
                <a:solidFill>
                  <a:srgbClr val="006072"/>
                </a:solidFill>
                <a:latin typeface="+mn-lt"/>
                <a:ea typeface="Open Sans"/>
                <a:cs typeface="Open Sans"/>
                <a:sym typeface="Open Sans" panose="020B0606030504020204" pitchFamily="34" charset="0"/>
              </a:defRPr>
            </a:lvl1pPr>
            <a:lvl2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9600" b="1" cap="all" spc="513">
                <a:solidFill>
                  <a:srgbClr val="004D44"/>
                </a:solidFill>
                <a:latin typeface="Arial" pitchFamily="34" charset="0"/>
                <a:ea typeface="Open Sans"/>
                <a:cs typeface="Open Sans"/>
                <a:sym typeface="Open Sans" panose="020B0606030504020204" pitchFamily="34" charset="0"/>
              </a:defRPr>
            </a:lvl2pPr>
            <a:lvl3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9600" b="1" cap="all" spc="513">
                <a:solidFill>
                  <a:srgbClr val="004D44"/>
                </a:solidFill>
                <a:latin typeface="Arial" pitchFamily="34" charset="0"/>
                <a:ea typeface="Open Sans"/>
                <a:cs typeface="Open Sans"/>
                <a:sym typeface="Open Sans" panose="020B0606030504020204" pitchFamily="34" charset="0"/>
              </a:defRPr>
            </a:lvl3pPr>
            <a:lvl4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9600" b="1" cap="all" spc="513">
                <a:solidFill>
                  <a:srgbClr val="004D44"/>
                </a:solidFill>
                <a:latin typeface="Arial" pitchFamily="34" charset="0"/>
                <a:ea typeface="Open Sans"/>
                <a:cs typeface="Open Sans"/>
                <a:sym typeface="Open Sans" panose="020B0606030504020204" pitchFamily="34" charset="0"/>
              </a:defRPr>
            </a:lvl4pPr>
            <a:lvl5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9600" b="1" cap="all" spc="513">
                <a:solidFill>
                  <a:srgbClr val="004D44"/>
                </a:solidFill>
                <a:latin typeface="Arial" pitchFamily="34" charset="0"/>
                <a:ea typeface="Open Sans"/>
                <a:cs typeface="Open Sans"/>
                <a:sym typeface="Open Sans" panose="020B0606030504020204" pitchFamily="34" charset="0"/>
              </a:defRPr>
            </a:lvl5pPr>
            <a:lvl6pPr marL="0" marR="0" indent="1143000" algn="ctr" defTabSz="8255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700" b="1" i="0" u="none" strike="noStrike" cap="all" spc="513" baseline="0">
                <a:ln>
                  <a:noFill/>
                </a:ln>
                <a:solidFill>
                  <a:srgbClr val="9B895A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6pPr>
            <a:lvl7pPr marL="0" marR="0" indent="1371600" algn="ctr" defTabSz="8255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700" b="1" i="0" u="none" strike="noStrike" cap="all" spc="513" baseline="0">
                <a:ln>
                  <a:noFill/>
                </a:ln>
                <a:solidFill>
                  <a:srgbClr val="9B895A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7pPr>
            <a:lvl8pPr marL="0" marR="0" indent="1600200" algn="ctr" defTabSz="8255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700" b="1" i="0" u="none" strike="noStrike" cap="all" spc="513" baseline="0">
                <a:ln>
                  <a:noFill/>
                </a:ln>
                <a:solidFill>
                  <a:srgbClr val="9B895A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8pPr>
            <a:lvl9pPr marL="0" marR="0" indent="1828800" algn="ctr" defTabSz="8255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700" b="1" i="0" u="none" strike="noStrike" cap="all" spc="513" baseline="0">
                <a:ln>
                  <a:noFill/>
                </a:ln>
                <a:solidFill>
                  <a:srgbClr val="9B895A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defTabSz="412750" fontAlgn="auto">
              <a:lnSpc>
                <a:spcPct val="90000"/>
              </a:lnSpc>
              <a:spcAft>
                <a:spcPts val="300"/>
              </a:spcAft>
              <a:defRPr/>
            </a:pPr>
            <a:r>
              <a:rPr lang="en-US" sz="2000" spc="-80" dirty="0">
                <a:cs typeface="Calibri" charset="0"/>
                <a:sym typeface="Lato"/>
              </a:rPr>
              <a:t>Outcomes in 2024… </a:t>
            </a:r>
          </a:p>
        </p:txBody>
      </p:sp>
      <p:sp>
        <p:nvSpPr>
          <p:cNvPr id="4" name="Arrow: Bent-Up 3">
            <a:extLst>
              <a:ext uri="{FF2B5EF4-FFF2-40B4-BE49-F238E27FC236}">
                <a16:creationId xmlns:a16="http://schemas.microsoft.com/office/drawing/2014/main" id="{0D7014E4-E541-5B78-E123-066C532F3922}"/>
              </a:ext>
            </a:extLst>
          </p:cNvPr>
          <p:cNvSpPr/>
          <p:nvPr/>
        </p:nvSpPr>
        <p:spPr>
          <a:xfrm flipH="1">
            <a:off x="1755564" y="4989141"/>
            <a:ext cx="5835682" cy="977265"/>
          </a:xfrm>
          <a:prstGeom prst="bentUpArrow">
            <a:avLst/>
          </a:prstGeom>
          <a:solidFill>
            <a:srgbClr val="C00000"/>
          </a:solidFill>
          <a:ln>
            <a:noFill/>
          </a:ln>
          <a:effectLst/>
        </p:spPr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 defTabSz="412750" hangingPunct="0"/>
            <a:endParaRPr lang="en-IE" sz="1600">
              <a:solidFill>
                <a:srgbClr val="FFFFFF"/>
              </a:solidFill>
              <a:ea typeface="Open Sans" panose="020B0606030504020204" pitchFamily="34" charset="0"/>
              <a:cs typeface="Open Sans" panose="020B0606030504020204" pitchFamily="34" charset="0"/>
              <a:sym typeface="Helvetica Neue Medium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4EBBF2E-56CA-A44D-3A45-CFB3F395E19D}"/>
              </a:ext>
            </a:extLst>
          </p:cNvPr>
          <p:cNvSpPr txBox="1">
            <a:spLocks/>
          </p:cNvSpPr>
          <p:nvPr/>
        </p:nvSpPr>
        <p:spPr>
          <a:xfrm>
            <a:off x="7328559" y="6254075"/>
            <a:ext cx="4531747" cy="478420"/>
          </a:xfrm>
          <a:prstGeom prst="rect">
            <a:avLst/>
          </a:prstGeom>
        </p:spPr>
        <p:txBody>
          <a:bodyPr/>
          <a:lstStyle>
            <a:lvl1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9600" b="1" spc="-180">
                <a:solidFill>
                  <a:srgbClr val="006072"/>
                </a:solidFill>
                <a:latin typeface="+mn-lt"/>
                <a:ea typeface="Open Sans"/>
                <a:cs typeface="Open Sans"/>
                <a:sym typeface="Open Sans" panose="020B0606030504020204" pitchFamily="34" charset="0"/>
              </a:defRPr>
            </a:lvl1pPr>
            <a:lvl2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9600" b="1" cap="all" spc="513">
                <a:solidFill>
                  <a:srgbClr val="004D44"/>
                </a:solidFill>
                <a:latin typeface="Arial" pitchFamily="34" charset="0"/>
                <a:ea typeface="Open Sans"/>
                <a:cs typeface="Open Sans"/>
                <a:sym typeface="Open Sans" panose="020B0606030504020204" pitchFamily="34" charset="0"/>
              </a:defRPr>
            </a:lvl2pPr>
            <a:lvl3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9600" b="1" cap="all" spc="513">
                <a:solidFill>
                  <a:srgbClr val="004D44"/>
                </a:solidFill>
                <a:latin typeface="Arial" pitchFamily="34" charset="0"/>
                <a:ea typeface="Open Sans"/>
                <a:cs typeface="Open Sans"/>
                <a:sym typeface="Open Sans" panose="020B0606030504020204" pitchFamily="34" charset="0"/>
              </a:defRPr>
            </a:lvl3pPr>
            <a:lvl4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9600" b="1" cap="all" spc="513">
                <a:solidFill>
                  <a:srgbClr val="004D44"/>
                </a:solidFill>
                <a:latin typeface="Arial" pitchFamily="34" charset="0"/>
                <a:ea typeface="Open Sans"/>
                <a:cs typeface="Open Sans"/>
                <a:sym typeface="Open Sans" panose="020B0606030504020204" pitchFamily="34" charset="0"/>
              </a:defRPr>
            </a:lvl4pPr>
            <a:lvl5pPr algn="l" defTabSz="825500" rtl="0" eaLnBrk="0" fontAlgn="base" hangingPunct="0">
              <a:spcBef>
                <a:spcPct val="0"/>
              </a:spcBef>
              <a:spcAft>
                <a:spcPct val="0"/>
              </a:spcAft>
              <a:defRPr sz="9600" b="1" cap="all" spc="513">
                <a:solidFill>
                  <a:srgbClr val="004D44"/>
                </a:solidFill>
                <a:latin typeface="Arial" pitchFamily="34" charset="0"/>
                <a:ea typeface="Open Sans"/>
                <a:cs typeface="Open Sans"/>
                <a:sym typeface="Open Sans" panose="020B0606030504020204" pitchFamily="34" charset="0"/>
              </a:defRPr>
            </a:lvl5pPr>
            <a:lvl6pPr marL="0" marR="0" indent="1143000" algn="ctr" defTabSz="8255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700" b="1" i="0" u="none" strike="noStrike" cap="all" spc="513" baseline="0">
                <a:ln>
                  <a:noFill/>
                </a:ln>
                <a:solidFill>
                  <a:srgbClr val="9B895A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6pPr>
            <a:lvl7pPr marL="0" marR="0" indent="1371600" algn="ctr" defTabSz="8255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700" b="1" i="0" u="none" strike="noStrike" cap="all" spc="513" baseline="0">
                <a:ln>
                  <a:noFill/>
                </a:ln>
                <a:solidFill>
                  <a:srgbClr val="9B895A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7pPr>
            <a:lvl8pPr marL="0" marR="0" indent="1600200" algn="ctr" defTabSz="8255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700" b="1" i="0" u="none" strike="noStrike" cap="all" spc="513" baseline="0">
                <a:ln>
                  <a:noFill/>
                </a:ln>
                <a:solidFill>
                  <a:srgbClr val="9B895A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8pPr>
            <a:lvl9pPr marL="0" marR="0" indent="1828800" algn="ctr" defTabSz="8255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700" b="1" i="0" u="none" strike="noStrike" cap="all" spc="513" baseline="0">
                <a:ln>
                  <a:noFill/>
                </a:ln>
                <a:solidFill>
                  <a:srgbClr val="9B895A"/>
                </a:solidFill>
                <a:uFillTx/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defTabSz="412750" fontAlgn="auto">
              <a:lnSpc>
                <a:spcPct val="90000"/>
              </a:lnSpc>
              <a:spcAft>
                <a:spcPts val="300"/>
              </a:spcAft>
              <a:defRPr/>
            </a:pPr>
            <a:r>
              <a:rPr lang="en-US" sz="2400" spc="-80" dirty="0">
                <a:cs typeface="Calibri" charset="0"/>
                <a:sym typeface="Lato"/>
              </a:rPr>
              <a:t>… are inputs </a:t>
            </a:r>
            <a:r>
              <a:rPr lang="en-US" sz="2400" spc="-80">
                <a:cs typeface="Calibri" charset="0"/>
                <a:sym typeface="Lato"/>
              </a:rPr>
              <a:t>in 2025</a:t>
            </a:r>
            <a:endParaRPr lang="en-US" sz="2400" spc="-80" dirty="0">
              <a:cs typeface="Calibri" charset="0"/>
              <a:sym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6218887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100000">
              <a:schemeClr val="accent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Video 3" title="Wildfire in forest">
            <a:hlinkClick r:id="" action="ppaction://media"/>
            <a:extLst>
              <a:ext uri="{FF2B5EF4-FFF2-40B4-BE49-F238E27FC236}">
                <a16:creationId xmlns:a16="http://schemas.microsoft.com/office/drawing/2014/main" id="{324730CA-D9A1-AEF0-DA31-5902A4E3B07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ight Triangle 2">
            <a:extLst>
              <a:ext uri="{FF2B5EF4-FFF2-40B4-BE49-F238E27FC236}">
                <a16:creationId xmlns:a16="http://schemas.microsoft.com/office/drawing/2014/main" id="{782C7F1D-FAE5-2571-7371-F778BBAA18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8763000" y="3429000"/>
            <a:ext cx="3429000" cy="3429000"/>
          </a:xfrm>
          <a:prstGeom prst="rtTriangle">
            <a:avLst/>
          </a:prstGeom>
          <a:solidFill>
            <a:srgbClr val="00A1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283172C-A832-A130-95DE-6B6A2E5FD0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328" y="1890484"/>
            <a:ext cx="5921375" cy="715963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GB" sz="5400" dirty="0"/>
              <a:t>THANK </a:t>
            </a:r>
            <a:br>
              <a:rPr lang="en-GB" sz="5400" dirty="0"/>
            </a:br>
            <a:r>
              <a:rPr lang="en-GB" sz="5400" dirty="0"/>
              <a:t>YOU</a:t>
            </a:r>
            <a:br>
              <a:rPr lang="en-GB" sz="9600" dirty="0"/>
            </a:br>
            <a:endParaRPr lang="en-GB" sz="4000" dirty="0"/>
          </a:p>
        </p:txBody>
      </p:sp>
      <p:sp>
        <p:nvSpPr>
          <p:cNvPr id="13" name="Text Box 1">
            <a:extLst>
              <a:ext uri="{FF2B5EF4-FFF2-40B4-BE49-F238E27FC236}">
                <a16:creationId xmlns:a16="http://schemas.microsoft.com/office/drawing/2014/main" id="{325DD66A-630D-C655-E2B6-4909C578C2DF}"/>
              </a:ext>
            </a:extLst>
          </p:cNvPr>
          <p:cNvSpPr txBox="1">
            <a:spLocks/>
          </p:cNvSpPr>
          <p:nvPr/>
        </p:nvSpPr>
        <p:spPr>
          <a:xfrm>
            <a:off x="6564547" y="3037300"/>
            <a:ext cx="3429000" cy="68146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  <a:buSzPct val="100000"/>
              <a:buFont typeface="Wingdings 2" panose="05020102010507070707" pitchFamily="18" charset="2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  <a:buSzPct val="100000"/>
              <a:buFont typeface="Wingdings 2" panose="05020102010507070707" pitchFamily="18" charset="2"/>
              <a:buChar char="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60350" algn="l" defTabSz="914400" rtl="0" eaLnBrk="1" latinLnBrk="0" hangingPunct="1">
              <a:lnSpc>
                <a:spcPct val="112000"/>
              </a:lnSpc>
              <a:spcBef>
                <a:spcPts val="400"/>
              </a:spcBef>
              <a:spcAft>
                <a:spcPts val="400"/>
              </a:spcAft>
              <a:buFont typeface="Barlow" panose="020B0604020202020204" pitchFamily="34" charset="0"/>
              <a:buChar char="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40602020203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Barlow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800" dirty="0">
                <a:solidFill>
                  <a:schemeClr val="bg1"/>
                </a:solidFill>
              </a:rPr>
              <a:t>Niall McCaffrey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800" dirty="0" err="1">
                <a:solidFill>
                  <a:schemeClr val="bg1"/>
                </a:solidFill>
              </a:rPr>
              <a:t>Dr.</a:t>
            </a:r>
            <a:r>
              <a:rPr lang="en-GB" sz="1800" dirty="0">
                <a:solidFill>
                  <a:schemeClr val="bg1"/>
                </a:solidFill>
              </a:rPr>
              <a:t> Robert Mooney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353BA329-9F00-C0FE-FF7A-D00168B9A1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8100000">
            <a:off x="8065079" y="5581378"/>
            <a:ext cx="3313714" cy="849494"/>
          </a:xfrm>
          <a:custGeom>
            <a:avLst/>
            <a:gdLst>
              <a:gd name="connsiteX0" fmla="*/ 2464220 w 3313714"/>
              <a:gd name="connsiteY0" fmla="*/ 0 h 849494"/>
              <a:gd name="connsiteX1" fmla="*/ 3313714 w 3313714"/>
              <a:gd name="connsiteY1" fmla="*/ 849494 h 849494"/>
              <a:gd name="connsiteX2" fmla="*/ 849494 w 3313714"/>
              <a:gd name="connsiteY2" fmla="*/ 849494 h 849494"/>
              <a:gd name="connsiteX3" fmla="*/ 0 w 3313714"/>
              <a:gd name="connsiteY3" fmla="*/ 0 h 84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714" h="849494">
                <a:moveTo>
                  <a:pt x="2464220" y="0"/>
                </a:moveTo>
                <a:lnTo>
                  <a:pt x="3313714" y="849494"/>
                </a:lnTo>
                <a:lnTo>
                  <a:pt x="849494" y="849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endParaRPr lang="en-GB" sz="1400" dirty="0" err="1">
              <a:solidFill>
                <a:schemeClr val="tx1"/>
              </a:solidFill>
            </a:endParaRP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49D283A-ACBB-CD43-DCB0-29C6797008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7692" y="6088589"/>
            <a:ext cx="1704266" cy="68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288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96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helicopter flying over a forest fire&#10;&#10;Description automatically generated">
            <a:extLst>
              <a:ext uri="{FF2B5EF4-FFF2-40B4-BE49-F238E27FC236}">
                <a16:creationId xmlns:a16="http://schemas.microsoft.com/office/drawing/2014/main" id="{753B2859-A384-7B2E-AACF-F5B73C03CC7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5713" b="5713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A56D8A3-57C6-AD3D-ECBB-2E5E19851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450000"/>
            <a:ext cx="3962343" cy="3382698"/>
          </a:xfrm>
        </p:spPr>
        <p:txBody>
          <a:bodyPr/>
          <a:lstStyle/>
          <a:p>
            <a:r>
              <a:rPr lang="en-GB" dirty="0"/>
              <a:t>According to the UN, climate change is the defining threat of our time...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430C6EAE-7737-B998-2CA8-B75BB0553B58}"/>
              </a:ext>
            </a:extLst>
          </p:cNvPr>
          <p:cNvSpPr txBox="1">
            <a:spLocks/>
          </p:cNvSpPr>
          <p:nvPr/>
        </p:nvSpPr>
        <p:spPr>
          <a:xfrm>
            <a:off x="7779659" y="2590621"/>
            <a:ext cx="3962343" cy="167675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 cap="none" spc="0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/>
            <a:r>
              <a:rPr lang="en-GB" dirty="0"/>
              <a:t>…but there are problems that have big implications for policy makers</a:t>
            </a:r>
          </a:p>
        </p:txBody>
      </p:sp>
    </p:spTree>
    <p:extLst>
      <p:ext uri="{BB962C8B-B14F-4D97-AF65-F5344CB8AC3E}">
        <p14:creationId xmlns:p14="http://schemas.microsoft.com/office/powerpoint/2010/main" val="3416141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 descr="A person speaking into a megaphone&#10;&#10;Description automatically generated">
            <a:extLst>
              <a:ext uri="{FF2B5EF4-FFF2-40B4-BE49-F238E27FC236}">
                <a16:creationId xmlns:a16="http://schemas.microsoft.com/office/drawing/2014/main" id="{7E504F63-D161-98C6-19FB-2FAC151F8AD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937" b="937"/>
          <a:stretch>
            <a:fillRect/>
          </a:stretch>
        </p:blipFill>
        <p:spPr/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DEA1629-E94E-443D-BBBE-1AF0FBDD23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 flipV="1">
            <a:off x="9613526" y="3278070"/>
            <a:ext cx="2582907" cy="2582906"/>
          </a:xfrm>
          <a:custGeom>
            <a:avLst/>
            <a:gdLst>
              <a:gd name="connsiteX0" fmla="*/ 1310277 w 2582907"/>
              <a:gd name="connsiteY0" fmla="*/ 0 h 2582906"/>
              <a:gd name="connsiteX1" fmla="*/ 2582907 w 2582907"/>
              <a:gd name="connsiteY1" fmla="*/ 0 h 2582906"/>
              <a:gd name="connsiteX2" fmla="*/ 0 w 2582907"/>
              <a:gd name="connsiteY2" fmla="*/ 2582906 h 2582906"/>
              <a:gd name="connsiteX3" fmla="*/ 0 w 2582907"/>
              <a:gd name="connsiteY3" fmla="*/ 1310276 h 2582906"/>
              <a:gd name="connsiteX4" fmla="*/ 1310277 w 2582907"/>
              <a:gd name="connsiteY4" fmla="*/ 0 h 258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2907" h="2582906">
                <a:moveTo>
                  <a:pt x="1310277" y="0"/>
                </a:moveTo>
                <a:lnTo>
                  <a:pt x="2582907" y="0"/>
                </a:lnTo>
                <a:lnTo>
                  <a:pt x="0" y="2582906"/>
                </a:lnTo>
                <a:lnTo>
                  <a:pt x="0" y="1310276"/>
                </a:lnTo>
                <a:lnTo>
                  <a:pt x="1310277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sp>
        <p:nvSpPr>
          <p:cNvPr id="22" name="Gradient">
            <a:extLst>
              <a:ext uri="{FF2B5EF4-FFF2-40B4-BE49-F238E27FC236}">
                <a16:creationId xmlns:a16="http://schemas.microsoft.com/office/drawing/2014/main" id="{8A92B079-7877-229F-9C1A-FCC9B22273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hidden">
          <a:xfrm flipV="1">
            <a:off x="-4433" y="0"/>
            <a:ext cx="12192000" cy="6858000"/>
          </a:xfrm>
          <a:prstGeom prst="snip1Rect">
            <a:avLst>
              <a:gd name="adj" fmla="val 40794"/>
            </a:avLst>
          </a:prstGeom>
          <a:gradFill flip="none" rotWithShape="0">
            <a:gsLst>
              <a:gs pos="0">
                <a:schemeClr val="tx1"/>
              </a:gs>
              <a:gs pos="40000">
                <a:schemeClr val="tx1">
                  <a:alpha val="25000"/>
                </a:schemeClr>
              </a:gs>
              <a:gs pos="80000">
                <a:schemeClr val="tx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Classification">
            <a:extLst>
              <a:ext uri="{FF2B5EF4-FFF2-40B4-BE49-F238E27FC236}">
                <a16:creationId xmlns:a16="http://schemas.microsoft.com/office/drawing/2014/main" id="{C73865B3-F247-F19D-6A4B-C10C5D88B5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8FA4BAF-6709-3883-03F8-C8F9DF3A8A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3</a:t>
            </a:fld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8B188A5-6AC2-D9D2-2EBD-A2781D5DBB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6797676" cy="715669"/>
          </a:xfrm>
        </p:spPr>
        <p:txBody>
          <a:bodyPr/>
          <a:lstStyle/>
          <a:p>
            <a:r>
              <a:rPr lang="en-GB" dirty="0"/>
              <a:t>We are worn out hearing about the crisis…</a:t>
            </a:r>
          </a:p>
        </p:txBody>
      </p:sp>
      <p:pic>
        <p:nvPicPr>
          <p:cNvPr id="3" name="Picture 2" descr="A blue and black logo&#10;&#10;Description automatically generated">
            <a:extLst>
              <a:ext uri="{FF2B5EF4-FFF2-40B4-BE49-F238E27FC236}">
                <a16:creationId xmlns:a16="http://schemas.microsoft.com/office/drawing/2014/main" id="{09795765-2DC3-BA9F-5DAF-05ED04C45D2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8974" y="6164638"/>
            <a:ext cx="941695" cy="448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21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A0D289-1657-AF04-3C57-D2B6493563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holding her hand out&#10;&#10;Description automatically generated">
            <a:extLst>
              <a:ext uri="{FF2B5EF4-FFF2-40B4-BE49-F238E27FC236}">
                <a16:creationId xmlns:a16="http://schemas.microsoft.com/office/drawing/2014/main" id="{F035B043-EB48-793B-2D32-5E183404405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6036" b="6036"/>
          <a:stretch>
            <a:fillRect/>
          </a:stretch>
        </p:blipFill>
        <p:spPr/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E76DF470-738E-B58F-0B34-D7B04263E8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 flipV="1">
            <a:off x="9613526" y="3278070"/>
            <a:ext cx="2582907" cy="2582906"/>
          </a:xfrm>
          <a:custGeom>
            <a:avLst/>
            <a:gdLst>
              <a:gd name="connsiteX0" fmla="*/ 1310277 w 2582907"/>
              <a:gd name="connsiteY0" fmla="*/ 0 h 2582906"/>
              <a:gd name="connsiteX1" fmla="*/ 2582907 w 2582907"/>
              <a:gd name="connsiteY1" fmla="*/ 0 h 2582906"/>
              <a:gd name="connsiteX2" fmla="*/ 0 w 2582907"/>
              <a:gd name="connsiteY2" fmla="*/ 2582906 h 2582906"/>
              <a:gd name="connsiteX3" fmla="*/ 0 w 2582907"/>
              <a:gd name="connsiteY3" fmla="*/ 1310276 h 2582906"/>
              <a:gd name="connsiteX4" fmla="*/ 1310277 w 2582907"/>
              <a:gd name="connsiteY4" fmla="*/ 0 h 258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2907" h="2582906">
                <a:moveTo>
                  <a:pt x="1310277" y="0"/>
                </a:moveTo>
                <a:lnTo>
                  <a:pt x="2582907" y="0"/>
                </a:lnTo>
                <a:lnTo>
                  <a:pt x="0" y="2582906"/>
                </a:lnTo>
                <a:lnTo>
                  <a:pt x="0" y="1310276"/>
                </a:lnTo>
                <a:lnTo>
                  <a:pt x="1310277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sp>
        <p:nvSpPr>
          <p:cNvPr id="2" name="Classification">
            <a:extLst>
              <a:ext uri="{FF2B5EF4-FFF2-40B4-BE49-F238E27FC236}">
                <a16:creationId xmlns:a16="http://schemas.microsoft.com/office/drawing/2014/main" id="{4F00D404-44F2-811E-C2C3-88338C4CBB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4B7D18-921D-FCB4-3102-15EF1811B3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4</a:t>
            </a:fld>
            <a:endParaRPr lang="en-GB" sz="900">
              <a:solidFill>
                <a:schemeClr val="bg1"/>
              </a:solidFill>
            </a:endParaRPr>
          </a:p>
        </p:txBody>
      </p:sp>
      <p:pic>
        <p:nvPicPr>
          <p:cNvPr id="3" name="Picture 2" descr="A blue and black logo&#10;&#10;Description automatically generated">
            <a:extLst>
              <a:ext uri="{FF2B5EF4-FFF2-40B4-BE49-F238E27FC236}">
                <a16:creationId xmlns:a16="http://schemas.microsoft.com/office/drawing/2014/main" id="{76242B5C-852A-0895-92A0-03C5357323E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8974" y="6164638"/>
            <a:ext cx="941695" cy="448056"/>
          </a:xfrm>
          <a:prstGeom prst="rect">
            <a:avLst/>
          </a:prstGeom>
        </p:spPr>
      </p:pic>
      <p:sp>
        <p:nvSpPr>
          <p:cNvPr id="22" name="Gradient">
            <a:extLst>
              <a:ext uri="{FF2B5EF4-FFF2-40B4-BE49-F238E27FC236}">
                <a16:creationId xmlns:a16="http://schemas.microsoft.com/office/drawing/2014/main" id="{74C5FCB8-C67B-42B0-D380-D8BDF6B1B4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hidden">
          <a:xfrm flipV="1">
            <a:off x="0" y="0"/>
            <a:ext cx="12192000" cy="6858000"/>
          </a:xfrm>
          <a:prstGeom prst="snip1Rect">
            <a:avLst>
              <a:gd name="adj" fmla="val 40794"/>
            </a:avLst>
          </a:prstGeom>
          <a:gradFill flip="none" rotWithShape="0">
            <a:gsLst>
              <a:gs pos="0">
                <a:schemeClr val="tx1"/>
              </a:gs>
              <a:gs pos="40000">
                <a:schemeClr val="tx1">
                  <a:alpha val="25000"/>
                </a:schemeClr>
              </a:gs>
              <a:gs pos="80000">
                <a:schemeClr val="tx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9FE0F2F-4511-8C0F-A95D-CAFA76468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6797676" cy="715669"/>
          </a:xfrm>
        </p:spPr>
        <p:txBody>
          <a:bodyPr/>
          <a:lstStyle/>
          <a:p>
            <a:r>
              <a:rPr lang="en-GB" dirty="0"/>
              <a:t>…with Our levels of concern dropping</a:t>
            </a:r>
          </a:p>
        </p:txBody>
      </p:sp>
    </p:spTree>
    <p:extLst>
      <p:ext uri="{BB962C8B-B14F-4D97-AF65-F5344CB8AC3E}">
        <p14:creationId xmlns:p14="http://schemas.microsoft.com/office/powerpoint/2010/main" val="339539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7D41070-D14C-4902-6AE0-9E3073FA35F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54DC0092-BC66-30AA-589D-CA09425ED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8" y="546022"/>
            <a:ext cx="6170193" cy="4524315"/>
          </a:xfrm>
        </p:spPr>
        <p:txBody>
          <a:bodyPr/>
          <a:lstStyle/>
          <a:p>
            <a:r>
              <a:rPr lang="en-GB" dirty="0">
                <a:latin typeface="Barlow" panose="00000500000000000000" pitchFamily="2" charset="0"/>
              </a:rPr>
              <a:t>Climate crisis is happening somewhere else, to someone else and/or at some time in the future.</a:t>
            </a:r>
          </a:p>
        </p:txBody>
      </p:sp>
    </p:spTree>
    <p:extLst>
      <p:ext uri="{BB962C8B-B14F-4D97-AF65-F5344CB8AC3E}">
        <p14:creationId xmlns:p14="http://schemas.microsoft.com/office/powerpoint/2010/main" val="2879055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7A03AA0-E54A-299A-B257-72D93DF511E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941"/>
            <a:ext cx="12192000" cy="687694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B71D897-0112-9BC3-4B6B-B768F3D67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2954655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The public has a very poor understanding of which actions are most beneficial.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7522D0-1934-1D38-1BBC-2F374223EC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Yellow Triangle">
            <a:extLst>
              <a:ext uri="{FF2B5EF4-FFF2-40B4-BE49-F238E27FC236}">
                <a16:creationId xmlns:a16="http://schemas.microsoft.com/office/drawing/2014/main" id="{ECBB096E-0DE1-A711-59B8-90BEEB5712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8580120" y="3246120"/>
            <a:ext cx="3611880" cy="3611880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endParaRPr lang="en-GB" sz="2400" dirty="0" err="1">
              <a:solidFill>
                <a:schemeClr val="tx1"/>
              </a:solidFill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7B8BD51-16BE-DC6C-BD87-CE0FC45C4D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8100000">
            <a:off x="7789208" y="5566012"/>
            <a:ext cx="3313714" cy="849494"/>
          </a:xfrm>
          <a:custGeom>
            <a:avLst/>
            <a:gdLst>
              <a:gd name="connsiteX0" fmla="*/ 2464220 w 3313714"/>
              <a:gd name="connsiteY0" fmla="*/ 0 h 849494"/>
              <a:gd name="connsiteX1" fmla="*/ 3313714 w 3313714"/>
              <a:gd name="connsiteY1" fmla="*/ 849494 h 849494"/>
              <a:gd name="connsiteX2" fmla="*/ 849494 w 3313714"/>
              <a:gd name="connsiteY2" fmla="*/ 849494 h 849494"/>
              <a:gd name="connsiteX3" fmla="*/ 0 w 3313714"/>
              <a:gd name="connsiteY3" fmla="*/ 0 h 84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714" h="849494">
                <a:moveTo>
                  <a:pt x="2464220" y="0"/>
                </a:moveTo>
                <a:lnTo>
                  <a:pt x="3313714" y="849494"/>
                </a:lnTo>
                <a:lnTo>
                  <a:pt x="849494" y="8494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8" name="Picture 7" descr="A blue and black logo&#10;&#10;Description automatically generated">
            <a:extLst>
              <a:ext uri="{FF2B5EF4-FFF2-40B4-BE49-F238E27FC236}">
                <a16:creationId xmlns:a16="http://schemas.microsoft.com/office/drawing/2014/main" id="{4611A2D2-74F6-CB8D-57DA-21FC0D6B5F2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7784" y="6174039"/>
            <a:ext cx="938214" cy="4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793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66FBFC-DBD4-B77F-30A1-D5D5B2ADB0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9A44D1E-0121-45D3-99B0-D720E113EB5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941"/>
            <a:ext cx="12192000" cy="687694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CBBD383-CDCC-7D3B-B394-38751E5BF6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9754536" cy="2166747"/>
          </a:xfrm>
        </p:spPr>
        <p:txBody>
          <a:bodyPr/>
          <a:lstStyle/>
          <a:p>
            <a:r>
              <a:rPr lang="en-GB" sz="4400" dirty="0">
                <a:solidFill>
                  <a:schemeClr val="tx1"/>
                </a:solidFill>
              </a:rPr>
              <a:t>There is a focus on behaviours such as recycling yet how we heat our homes and travel around our country are most impactful.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1BE61CA-9344-B7C7-56AA-FD386D7C3C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Yellow Triangle">
            <a:extLst>
              <a:ext uri="{FF2B5EF4-FFF2-40B4-BE49-F238E27FC236}">
                <a16:creationId xmlns:a16="http://schemas.microsoft.com/office/drawing/2014/main" id="{F958F650-72C4-3D55-DDA7-0EBBF80C56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8580120" y="3246120"/>
            <a:ext cx="3611880" cy="3611880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</a:pPr>
            <a:endParaRPr lang="en-GB" sz="2400" dirty="0" err="1">
              <a:solidFill>
                <a:schemeClr val="tx1"/>
              </a:solidFill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828C5B9-481F-4BC1-22CA-C27DAB57EF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8100000">
            <a:off x="7789208" y="5566012"/>
            <a:ext cx="3313714" cy="849494"/>
          </a:xfrm>
          <a:custGeom>
            <a:avLst/>
            <a:gdLst>
              <a:gd name="connsiteX0" fmla="*/ 2464220 w 3313714"/>
              <a:gd name="connsiteY0" fmla="*/ 0 h 849494"/>
              <a:gd name="connsiteX1" fmla="*/ 3313714 w 3313714"/>
              <a:gd name="connsiteY1" fmla="*/ 849494 h 849494"/>
              <a:gd name="connsiteX2" fmla="*/ 849494 w 3313714"/>
              <a:gd name="connsiteY2" fmla="*/ 849494 h 849494"/>
              <a:gd name="connsiteX3" fmla="*/ 0 w 3313714"/>
              <a:gd name="connsiteY3" fmla="*/ 0 h 84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13714" h="849494">
                <a:moveTo>
                  <a:pt x="2464220" y="0"/>
                </a:moveTo>
                <a:lnTo>
                  <a:pt x="3313714" y="849494"/>
                </a:lnTo>
                <a:lnTo>
                  <a:pt x="849494" y="849494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8" name="Picture 7" descr="A blue and black logo&#10;&#10;Description automatically generated">
            <a:extLst>
              <a:ext uri="{FF2B5EF4-FFF2-40B4-BE49-F238E27FC236}">
                <a16:creationId xmlns:a16="http://schemas.microsoft.com/office/drawing/2014/main" id="{13BCC4A3-FC89-3C59-D1CF-178188392D7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7784" y="6174039"/>
            <a:ext cx="938214" cy="44640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1D0E09E9-3792-B504-2A9E-67978095BB0F}"/>
              </a:ext>
            </a:extLst>
          </p:cNvPr>
          <p:cNvSpPr txBox="1">
            <a:spLocks/>
          </p:cNvSpPr>
          <p:nvPr/>
        </p:nvSpPr>
        <p:spPr>
          <a:xfrm>
            <a:off x="5935287" y="3590454"/>
            <a:ext cx="4278456" cy="2462213"/>
          </a:xfrm>
          <a:prstGeom prst="rect">
            <a:avLst/>
          </a:prstGeom>
        </p:spPr>
        <p:txBody>
          <a:bodyPr vert="horz" wrap="square" lIns="7200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6000" b="1" kern="1200" cap="none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0000" dirty="0">
                <a:solidFill>
                  <a:schemeClr val="tx1"/>
                </a:solidFill>
              </a:rPr>
              <a:t>59</a:t>
            </a:r>
            <a:r>
              <a:rPr lang="en-GB" sz="20000" baseline="30000" dirty="0">
                <a:solidFill>
                  <a:schemeClr val="tx1"/>
                </a:solidFill>
              </a:rPr>
              <a:t>th</a:t>
            </a:r>
            <a:r>
              <a:rPr lang="en-GB" sz="20000" dirty="0">
                <a:solidFill>
                  <a:schemeClr val="tx1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253496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3326D7-2F6E-8B5A-63B7-D194A4F4D0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close-up of a hand giving a thumbs up&#10;&#10;Description automatically generated">
            <a:extLst>
              <a:ext uri="{FF2B5EF4-FFF2-40B4-BE49-F238E27FC236}">
                <a16:creationId xmlns:a16="http://schemas.microsoft.com/office/drawing/2014/main" id="{D093A13A-4A36-A111-08BF-6157337270E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8169" b="8169"/>
          <a:stretch>
            <a:fillRect/>
          </a:stretch>
        </p:blipFill>
        <p:spPr/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163D7CA-D7C6-3753-31B0-D3A7507AB4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 flipV="1">
            <a:off x="9613526" y="3278070"/>
            <a:ext cx="2582907" cy="2582906"/>
          </a:xfrm>
          <a:custGeom>
            <a:avLst/>
            <a:gdLst>
              <a:gd name="connsiteX0" fmla="*/ 1310277 w 2582907"/>
              <a:gd name="connsiteY0" fmla="*/ 0 h 2582906"/>
              <a:gd name="connsiteX1" fmla="*/ 2582907 w 2582907"/>
              <a:gd name="connsiteY1" fmla="*/ 0 h 2582906"/>
              <a:gd name="connsiteX2" fmla="*/ 0 w 2582907"/>
              <a:gd name="connsiteY2" fmla="*/ 2582906 h 2582906"/>
              <a:gd name="connsiteX3" fmla="*/ 0 w 2582907"/>
              <a:gd name="connsiteY3" fmla="*/ 1310276 h 2582906"/>
              <a:gd name="connsiteX4" fmla="*/ 1310277 w 2582907"/>
              <a:gd name="connsiteY4" fmla="*/ 0 h 258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2907" h="2582906">
                <a:moveTo>
                  <a:pt x="1310277" y="0"/>
                </a:moveTo>
                <a:lnTo>
                  <a:pt x="2582907" y="0"/>
                </a:lnTo>
                <a:lnTo>
                  <a:pt x="0" y="2582906"/>
                </a:lnTo>
                <a:lnTo>
                  <a:pt x="0" y="1310276"/>
                </a:lnTo>
                <a:lnTo>
                  <a:pt x="1310277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rlow"/>
              <a:ea typeface="+mn-ea"/>
              <a:cs typeface="+mn-cs"/>
            </a:endParaRPr>
          </a:p>
        </p:txBody>
      </p:sp>
      <p:sp>
        <p:nvSpPr>
          <p:cNvPr id="22" name="Gradient">
            <a:extLst>
              <a:ext uri="{FF2B5EF4-FFF2-40B4-BE49-F238E27FC236}">
                <a16:creationId xmlns:a16="http://schemas.microsoft.com/office/drawing/2014/main" id="{0CEE8780-E800-AA7D-095B-B6FE3A9479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hidden">
          <a:xfrm flipV="1">
            <a:off x="0" y="0"/>
            <a:ext cx="12192000" cy="6858000"/>
          </a:xfrm>
          <a:prstGeom prst="snip1Rect">
            <a:avLst>
              <a:gd name="adj" fmla="val 40794"/>
            </a:avLst>
          </a:prstGeom>
          <a:gradFill flip="none" rotWithShape="0">
            <a:gsLst>
              <a:gs pos="0">
                <a:schemeClr val="tx1"/>
              </a:gs>
              <a:gs pos="40000">
                <a:schemeClr val="tx1">
                  <a:alpha val="25000"/>
                </a:schemeClr>
              </a:gs>
              <a:gs pos="80000">
                <a:schemeClr val="tx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Classification">
            <a:extLst>
              <a:ext uri="{FF2B5EF4-FFF2-40B4-BE49-F238E27FC236}">
                <a16:creationId xmlns:a16="http://schemas.microsoft.com/office/drawing/2014/main" id="{FE745555-4491-CD9D-A0C0-0AB1FBDD4C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440938" y="6497329"/>
            <a:ext cx="4672238" cy="123111"/>
          </a:xfrm>
          <a:prstGeom prst="rect">
            <a:avLst/>
          </a:prstGeom>
          <a:effectLst/>
        </p:spPr>
        <p:txBody>
          <a:bodyPr vert="horz" wrap="square" lIns="0" tIns="0" rIns="0" bIns="0" rtlCol="0" anchor="b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800" dirty="0">
                <a:solidFill>
                  <a:schemeClr val="bg1"/>
                </a:solidFill>
                <a:effectLst/>
              </a:rPr>
              <a:t>© Ipsos B&amp;A | </a:t>
            </a:r>
            <a:r>
              <a:rPr lang="en-GB" sz="800" dirty="0" err="1">
                <a:solidFill>
                  <a:schemeClr val="bg1"/>
                </a:solidFill>
                <a:effectLst/>
              </a:rPr>
              <a:t>MarSoc</a:t>
            </a:r>
            <a:r>
              <a:rPr lang="en-GB" sz="800" dirty="0">
                <a:solidFill>
                  <a:schemeClr val="bg1"/>
                </a:solidFill>
                <a:effectLst/>
              </a:rPr>
              <a:t> Awards Showcase | Jan 2024 | Final | Strictly Confident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4A7E35-DC99-1EA6-69A8-15171EE8F1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849681" y="6479951"/>
            <a:ext cx="492637" cy="1404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</a:pPr>
            <a:fld id="{42C674B8-9BBC-4FFF-A23E-570BB0655C41}" type="slidenum">
              <a:rPr lang="en-GB" sz="900" smtClean="0">
                <a:solidFill>
                  <a:schemeClr val="bg1"/>
                </a:solidFill>
              </a:rPr>
              <a:pPr algn="ctr" rtl="0">
                <a:lnSpc>
                  <a:spcPct val="110000"/>
                </a:lnSpc>
                <a:spcBef>
                  <a:spcPts val="400"/>
                </a:spcBef>
                <a:spcAft>
                  <a:spcPts val="400"/>
                </a:spcAft>
              </a:pPr>
              <a:t>8</a:t>
            </a:fld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7E15C46-729A-A3CF-6AB6-06E4FC560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350000"/>
            <a:ext cx="6797676" cy="715669"/>
          </a:xfrm>
        </p:spPr>
        <p:txBody>
          <a:bodyPr/>
          <a:lstStyle/>
          <a:p>
            <a:r>
              <a:rPr lang="en-GB" dirty="0"/>
              <a:t>Policy Implications for engaging individuals</a:t>
            </a:r>
          </a:p>
        </p:txBody>
      </p:sp>
      <p:pic>
        <p:nvPicPr>
          <p:cNvPr id="3" name="Picture 2" descr="A blue and black logo&#10;&#10;Description automatically generated">
            <a:extLst>
              <a:ext uri="{FF2B5EF4-FFF2-40B4-BE49-F238E27FC236}">
                <a16:creationId xmlns:a16="http://schemas.microsoft.com/office/drawing/2014/main" id="{BE57601D-616B-1220-0D4C-BFA9784697F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8974" y="6164638"/>
            <a:ext cx="941695" cy="448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676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E759942A-DF85-9C43-F7D1-0E877D87C2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5730447"/>
              </p:ext>
            </p:extLst>
          </p:nvPr>
        </p:nvGraphicFramePr>
        <p:xfrm>
          <a:off x="6278563" y="2286000"/>
          <a:ext cx="5457825" cy="3662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FF11873-90DA-9454-D6EA-16CF6A790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National Dialogue on Climate Action</a:t>
            </a:r>
          </a:p>
        </p:txBody>
      </p:sp>
      <p:pic>
        <p:nvPicPr>
          <p:cNvPr id="14" name="Picture Placeholder 13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29EE04F6-2E6E-D030-3CDE-7E0AE8B9B20A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7"/>
          <a:srcRect l="15452" r="1545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0063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heme/theme1.xml><?xml version="1.0" encoding="utf-8"?>
<a:theme xmlns:a="http://schemas.openxmlformats.org/drawingml/2006/main" name="Theme2">
  <a:themeElements>
    <a:clrScheme name="Ipsos_2024_v2">
      <a:dk1>
        <a:srgbClr val="000000"/>
      </a:dk1>
      <a:lt1>
        <a:sysClr val="window" lastClr="FFFFFF"/>
      </a:lt1>
      <a:dk2>
        <a:srgbClr val="1DAFAD"/>
      </a:dk2>
      <a:lt2>
        <a:srgbClr val="103C50"/>
      </a:lt2>
      <a:accent1>
        <a:srgbClr val="121B5A"/>
      </a:accent1>
      <a:accent2>
        <a:srgbClr val="E2DA51"/>
      </a:accent2>
      <a:accent3>
        <a:srgbClr val="FF740F"/>
      </a:accent3>
      <a:accent4>
        <a:srgbClr val="452567"/>
      </a:accent4>
      <a:accent5>
        <a:srgbClr val="E50158"/>
      </a:accent5>
      <a:accent6>
        <a:srgbClr val="9FE5D8"/>
      </a:accent6>
      <a:hlink>
        <a:srgbClr val="2F469C"/>
      </a:hlink>
      <a:folHlink>
        <a:srgbClr val="84329B"/>
      </a:folHlink>
    </a:clrScheme>
    <a:fontScheme name="Ipsos General">
      <a:majorFont>
        <a:latin typeface="Barlow Semi Condensed ExtraBold"/>
        <a:ea typeface=""/>
        <a:cs typeface=""/>
      </a:majorFont>
      <a:minorFont>
        <a:latin typeface="Barl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7EBF0"/>
        </a:solidFill>
        <a:ln>
          <a:noFill/>
        </a:ln>
      </a:spPr>
      <a:bodyPr rtlCol="0" anchor="t"/>
      <a:lstStyle>
        <a:defPPr algn="l">
          <a:lnSpc>
            <a:spcPct val="112000"/>
          </a:lnSpc>
          <a:spcBef>
            <a:spcPts val="400"/>
          </a:spcBef>
          <a:spcAft>
            <a:spcPts val="400"/>
          </a:spcAft>
          <a:defRPr sz="2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effectLst/>
      </a:spPr>
      <a:bodyPr vert="horz" wrap="square" lIns="0" tIns="0" rIns="0" bIns="0" rtlCol="0" anchor="b">
        <a:spAutoFit/>
      </a:bodyPr>
      <a:lstStyle>
        <a:defPPr algn="l">
          <a:defRPr sz="800" dirty="0">
            <a:solidFill>
              <a:schemeClr val="tx1"/>
            </a:solidFill>
            <a:effectLst/>
          </a:defRPr>
        </a:defPPr>
      </a:lstStyle>
    </a:txDef>
  </a:objectDefaults>
  <a:extraClrSchemeLst/>
  <a:custClrLst>
    <a:custClr name="Green">
      <a:srgbClr val="2DB574"/>
    </a:custClr>
    <a:custClr name="Sky Blue">
      <a:srgbClr val="A5CEE3"/>
    </a:custClr>
    <a:custClr name="Lilac">
      <a:srgbClr val="E3D8F0"/>
    </a:custClr>
    <a:custClr name="Pastel Pink">
      <a:srgbClr val="FFE1EC"/>
    </a:custClr>
    <a:custClr name="Yellow Meringue">
      <a:srgbClr val="F3F0B9"/>
    </a:custClr>
    <a:custClr name="Delicate Turquoise">
      <a:srgbClr val="9FE5D8"/>
    </a:custClr>
    <a:custClr name=" -- ">
      <a:srgbClr val="FFFFFF"/>
    </a:custClr>
    <a:custClr name="Light Grey">
      <a:srgbClr val="E7EBF0"/>
    </a:custClr>
    <a:custClr name="Mid Grey">
      <a:srgbClr val="585858"/>
    </a:custClr>
  </a:custClrLst>
  <a:extLst>
    <a:ext uri="{05A4C25C-085E-4340-85A3-A5531E510DB2}">
      <thm15:themeFamily xmlns:thm15="http://schemas.microsoft.com/office/thememl/2012/main" name="Ipsos B&amp;A PPT template_EN_presentation.potx" id="{ACE33FDB-2F00-4ADF-8FEB-0187C58532C4}" vid="{2CADCF35-6BFC-4A45-87D6-2FA90E45A8B1}"/>
    </a:ext>
  </a:extLst>
</a:theme>
</file>

<file path=ppt/theme/theme2.xml><?xml version="1.0" encoding="utf-8"?>
<a:theme xmlns:a="http://schemas.openxmlformats.org/drawingml/2006/main" name="Theme1">
  <a:themeElements>
    <a:clrScheme name="Ipsos_2024_v2">
      <a:dk1>
        <a:srgbClr val="000000"/>
      </a:dk1>
      <a:lt1>
        <a:sysClr val="window" lastClr="FFFFFF"/>
      </a:lt1>
      <a:dk2>
        <a:srgbClr val="1DAFAD"/>
      </a:dk2>
      <a:lt2>
        <a:srgbClr val="103C50"/>
      </a:lt2>
      <a:accent1>
        <a:srgbClr val="121B5A"/>
      </a:accent1>
      <a:accent2>
        <a:srgbClr val="E2DA51"/>
      </a:accent2>
      <a:accent3>
        <a:srgbClr val="FF740F"/>
      </a:accent3>
      <a:accent4>
        <a:srgbClr val="452567"/>
      </a:accent4>
      <a:accent5>
        <a:srgbClr val="E50158"/>
      </a:accent5>
      <a:accent6>
        <a:srgbClr val="9FE5D8"/>
      </a:accent6>
      <a:hlink>
        <a:srgbClr val="2F469C"/>
      </a:hlink>
      <a:folHlink>
        <a:srgbClr val="84329B"/>
      </a:folHlink>
    </a:clrScheme>
    <a:fontScheme name="Ipsos General">
      <a:majorFont>
        <a:latin typeface="Barlow Semi Condensed ExtraBold"/>
        <a:ea typeface=""/>
        <a:cs typeface=""/>
      </a:majorFont>
      <a:minorFont>
        <a:latin typeface="Barl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7EBF0"/>
        </a:solidFill>
        <a:ln>
          <a:noFill/>
        </a:ln>
      </a:spPr>
      <a:bodyPr rtlCol="0" anchor="t"/>
      <a:lstStyle>
        <a:defPPr algn="l">
          <a:lnSpc>
            <a:spcPct val="115000"/>
          </a:lnSpc>
          <a:spcBef>
            <a:spcPts val="400"/>
          </a:spcBef>
          <a:spcAft>
            <a:spcPts val="400"/>
          </a:spcAft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5000"/>
          </a:lnSpc>
          <a:spcBef>
            <a:spcPts val="400"/>
          </a:spcBef>
          <a:spcAft>
            <a:spcPts val="400"/>
          </a:spcAft>
          <a:buSzPct val="100000"/>
          <a:defRPr sz="1200" dirty="0" smtClean="0"/>
        </a:defPPr>
      </a:lstStyle>
    </a:txDef>
  </a:objectDefaults>
  <a:extraClrSchemeLst/>
  <a:custClrLst>
    <a:custClr name="Green">
      <a:srgbClr val="2DB574"/>
    </a:custClr>
    <a:custClr name="Sky Blue">
      <a:srgbClr val="A5CEE3"/>
    </a:custClr>
    <a:custClr name="Lilac">
      <a:srgbClr val="E3D8F0"/>
    </a:custClr>
    <a:custClr name="Pastel Pink">
      <a:srgbClr val="FFE1EC"/>
    </a:custClr>
    <a:custClr name="Yellow Meringue">
      <a:srgbClr val="F3F0B9"/>
    </a:custClr>
    <a:custClr name="Delicate Turquoise">
      <a:srgbClr val="9FE5D8"/>
    </a:custClr>
    <a:custClr name=" -- ">
      <a:srgbClr val="FFFFFF"/>
    </a:custClr>
    <a:custClr name="Light Grey">
      <a:srgbClr val="E7EBF0"/>
    </a:custClr>
    <a:custClr name="Mid Grey">
      <a:srgbClr val="585858"/>
    </a:custClr>
  </a:custClrLst>
  <a:extLst>
    <a:ext uri="{05A4C25C-085E-4340-85A3-A5531E510DB2}">
      <thm15:themeFamily xmlns:thm15="http://schemas.microsoft.com/office/thememl/2012/main" name="IPSOS REPORT &amp; PROPOSAL TEMPLATE (MARCH 2024)" id="{278EF49D-629A-408B-87D9-EB011BAB7A57}" vid="{C6B4694B-7722-49DB-9E4A-E0CA24BC18B4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Barlow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Barlow"/>
        <a:font script="Bugi" typeface="Leelawadee UI"/>
        <a:font script="Bopo" typeface="Microsoft JhengHei"/>
        <a:font script="Java" typeface="Javanese Text"/>
        <a:font script="Lisu" typeface="Barlow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Barlow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Barlow"/>
        <a:font script="Hebr" typeface="Barlow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Barlow"/>
        <a:font script="Uigh" typeface="Microsoft Uighur"/>
        <a:font script="Geor" typeface="Sylfaen"/>
        <a:font script="Armn" typeface="Barlow"/>
        <a:font script="Bugi" typeface="Leelawadee UI"/>
        <a:font script="Bopo" typeface="Microsoft JhengHei"/>
        <a:font script="Java" typeface="Javanese Text"/>
        <a:font script="Lisu" typeface="Barlow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Barlow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Barlow"/>
        <a:font script="Bugi" typeface="Leelawadee UI"/>
        <a:font script="Bopo" typeface="Microsoft JhengHei"/>
        <a:font script="Java" typeface="Javanese Text"/>
        <a:font script="Lisu" typeface="Barlow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Barlow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Barlow"/>
        <a:font script="Hebr" typeface="Barlow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Barlow"/>
        <a:font script="Uigh" typeface="Microsoft Uighur"/>
        <a:font script="Geor" typeface="Sylfaen"/>
        <a:font script="Armn" typeface="Barlow"/>
        <a:font script="Bugi" typeface="Leelawadee UI"/>
        <a:font script="Bopo" typeface="Microsoft JhengHei"/>
        <a:font script="Java" typeface="Javanese Text"/>
        <a:font script="Lisu" typeface="Barlow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82e9fc2-0629-4f66-9908-5dcb6384578c">
      <Terms xmlns="http://schemas.microsoft.com/office/infopath/2007/PartnerControls"/>
    </lcf76f155ced4ddcb4097134ff3c332f>
    <TaxCatchAll xmlns="4d92418d-5ee0-43a1-9152-e8920d1d3c9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307B01B65ECD745BECD9F3346AAEEEE" ma:contentTypeVersion="13" ma:contentTypeDescription="Create a new document." ma:contentTypeScope="" ma:versionID="0c877965595e8a86e0aa29acaaf1ca78">
  <xsd:schema xmlns:xsd="http://www.w3.org/2001/XMLSchema" xmlns:xs="http://www.w3.org/2001/XMLSchema" xmlns:p="http://schemas.microsoft.com/office/2006/metadata/properties" xmlns:ns2="782e9fc2-0629-4f66-9908-5dcb6384578c" xmlns:ns3="4d92418d-5ee0-43a1-9152-e8920d1d3c9c" targetNamespace="http://schemas.microsoft.com/office/2006/metadata/properties" ma:root="true" ma:fieldsID="7b461232b82d13755c748e83195974ac" ns2:_="" ns3:_="">
    <xsd:import namespace="782e9fc2-0629-4f66-9908-5dcb6384578c"/>
    <xsd:import namespace="4d92418d-5ee0-43a1-9152-e8920d1d3c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2e9fc2-0629-4f66-9908-5dcb638457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6" nillable="true" ma:displayName="Location" ma:description="" ma:indexed="true" ma:internalName="MediaServiceLocatio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120647d-17bd-4a63-9afd-bbea8594ace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92418d-5ee0-43a1-9152-e8920d1d3c9c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25f545af-843c-4915-aafe-d00eedc128e7}" ma:internalName="TaxCatchAll" ma:showField="CatchAllData" ma:web="4d92418d-5ee0-43a1-9152-e8920d1d3c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E9F5D46-0D18-4E51-B0BB-23A7F75C0A59}">
  <ds:schemaRefs>
    <ds:schemaRef ds:uri="http://purl.org/dc/dcmitype/"/>
    <ds:schemaRef ds:uri="http://purl.org/dc/terms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10c470b6-6943-4b25-8840-1f9dda3bdcb8"/>
    <ds:schemaRef ds:uri="44624973-eda7-4d1d-840c-1d76c87d6b4a"/>
    <ds:schemaRef ds:uri="782e9fc2-0629-4f66-9908-5dcb6384578c"/>
    <ds:schemaRef ds:uri="4d92418d-5ee0-43a1-9152-e8920d1d3c9c"/>
  </ds:schemaRefs>
</ds:datastoreItem>
</file>

<file path=customXml/itemProps2.xml><?xml version="1.0" encoding="utf-8"?>
<ds:datastoreItem xmlns:ds="http://schemas.openxmlformats.org/officeDocument/2006/customXml" ds:itemID="{676A31D0-D410-459F-8B3A-5041DA332E8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59F235-0064-4BE0-B52A-4714BEE448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82e9fc2-0629-4f66-9908-5dcb6384578c"/>
    <ds:schemaRef ds:uri="4d92418d-5ee0-43a1-9152-e8920d1d3c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psos B&amp;A PPT template_EN_presentation</Template>
  <TotalTime>11351</TotalTime>
  <Words>463</Words>
  <Application>Microsoft Office PowerPoint</Application>
  <PresentationFormat>Widescreen</PresentationFormat>
  <Paragraphs>81</Paragraphs>
  <Slides>18</Slides>
  <Notes>5</Notes>
  <HiddenSlides>0</HiddenSlides>
  <MMClips>2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Barlow</vt:lpstr>
      <vt:lpstr>Calibri</vt:lpstr>
      <vt:lpstr>Arial</vt:lpstr>
      <vt:lpstr>Wingdings 2</vt:lpstr>
      <vt:lpstr>Wingdings</vt:lpstr>
      <vt:lpstr>Times New Roman</vt:lpstr>
      <vt:lpstr>Arial Black</vt:lpstr>
      <vt:lpstr>Open Sans</vt:lpstr>
      <vt:lpstr>.AppleSystemUIFont</vt:lpstr>
      <vt:lpstr>Theme2</vt:lpstr>
      <vt:lpstr>Theme1</vt:lpstr>
      <vt:lpstr>Diapositive think-cell</vt:lpstr>
      <vt:lpstr>How to Solve a Problem like the Climate Crisis</vt:lpstr>
      <vt:lpstr>According to the UN, climate change is the defining threat of our time...</vt:lpstr>
      <vt:lpstr>We are worn out hearing about the crisis…</vt:lpstr>
      <vt:lpstr>…with Our levels of concern dropping</vt:lpstr>
      <vt:lpstr>Climate crisis is happening somewhere else, to someone else and/or at some time in the future.</vt:lpstr>
      <vt:lpstr>The public has a very poor understanding of which actions are most beneficial.</vt:lpstr>
      <vt:lpstr>There is a focus on behaviours such as recycling yet how we heat our homes and travel around our country are most impactful. </vt:lpstr>
      <vt:lpstr>Policy Implications for engaging individuals</vt:lpstr>
      <vt:lpstr>The National Dialogue on Climate A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NDCA - Multiple Elements of this Evolving Project</vt:lpstr>
      <vt:lpstr>PowerPoint Presentation</vt:lpstr>
      <vt:lpstr>THANK  YOU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PSOS B&amp;A PRESENTING TEMPLATE  (v1.1)</dc:title>
  <dc:subject>Ipsos Report</dc:subject>
  <dc:creator>Carole Carmody</dc:creator>
  <cp:lastModifiedBy>Irene McEvoy | The Marketing Society</cp:lastModifiedBy>
  <cp:revision>65</cp:revision>
  <cp:lastPrinted>2024-07-03T15:18:20Z</cp:lastPrinted>
  <dcterms:created xsi:type="dcterms:W3CDTF">2024-05-30T14:10:39Z</dcterms:created>
  <dcterms:modified xsi:type="dcterms:W3CDTF">2025-01-29T10:5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07B01B65ECD745BECD9F3346AAEEEE</vt:lpwstr>
  </property>
  <property fmtid="{D5CDD505-2E9C-101B-9397-08002B2CF9AE}" pid="3" name="MediaServiceImageTags">
    <vt:lpwstr/>
  </property>
</Properties>
</file>